
<file path=[Content_Types].xml><?xml version="1.0" encoding="utf-8"?>
<Types xmlns="http://schemas.openxmlformats.org/package/2006/content-types">
  <Default Extension="94FA7E20" ContentType="image/png"/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Override3.xml" ContentType="application/vnd.openxmlformats-officedocument.themeOverrid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heme/themeOverride4.xml" ContentType="application/vnd.openxmlformats-officedocument.themeOverrid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5.xml" ContentType="application/vnd.openxmlformats-officedocument.theme+xml"/>
  <Override PartName="/ppt/theme/themeOverride5.xml" ContentType="application/vnd.openxmlformats-officedocument.themeOverrid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6.xml" ContentType="application/vnd.openxmlformats-officedocument.theme+xml"/>
  <Override PartName="/ppt/theme/themeOverride6.xml" ContentType="application/vnd.openxmlformats-officedocument.themeOverrid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710" r:id="rId1"/>
    <p:sldMasterId id="2147483750" r:id="rId2"/>
    <p:sldMasterId id="2147483766" r:id="rId3"/>
    <p:sldMasterId id="2147483815" r:id="rId4"/>
    <p:sldMasterId id="2147483840" r:id="rId5"/>
    <p:sldMasterId id="2147483859" r:id="rId6"/>
  </p:sldMasterIdLst>
  <p:notesMasterIdLst>
    <p:notesMasterId r:id="rId23"/>
  </p:notesMasterIdLst>
  <p:sldIdLst>
    <p:sldId id="2147308287" r:id="rId7"/>
    <p:sldId id="2034" r:id="rId8"/>
    <p:sldId id="2147471093" r:id="rId9"/>
    <p:sldId id="2147308322" r:id="rId10"/>
    <p:sldId id="2134804438" r:id="rId11"/>
    <p:sldId id="2147308414" r:id="rId12"/>
    <p:sldId id="1956" r:id="rId13"/>
    <p:sldId id="2134804418" r:id="rId14"/>
    <p:sldId id="2028" r:id="rId15"/>
    <p:sldId id="2147471096" r:id="rId16"/>
    <p:sldId id="2147471097" r:id="rId17"/>
    <p:sldId id="2147471099" r:id="rId18"/>
    <p:sldId id="2147471098" r:id="rId19"/>
    <p:sldId id="2134804520" r:id="rId20"/>
    <p:sldId id="2147471094" r:id="rId21"/>
    <p:sldId id="1462" r:id="rId22"/>
  </p:sldIdLst>
  <p:sldSz cx="12192000" cy="6858000"/>
  <p:notesSz cx="6797675" cy="9926638"/>
  <p:defaultTextStyle>
    <a:defPPr>
      <a:defRPr lang="it-IT"/>
    </a:defPPr>
    <a:lvl1pPr marL="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A0DEDCE3-999A-43B0-A98B-0A7F9F6239C9}">
          <p14:sldIdLst/>
        </p14:section>
        <p14:section name="Sezione predefinita" id="{116A12F7-B4FA-40BD-8AB8-4EDEF0E4931B}">
          <p14:sldIdLst>
            <p14:sldId id="2147308287"/>
            <p14:sldId id="2034"/>
            <p14:sldId id="2147471093"/>
            <p14:sldId id="2147308322"/>
            <p14:sldId id="2134804438"/>
            <p14:sldId id="2147308414"/>
            <p14:sldId id="1956"/>
            <p14:sldId id="2134804418"/>
            <p14:sldId id="2028"/>
            <p14:sldId id="2147471096"/>
            <p14:sldId id="2147471097"/>
            <p14:sldId id="2147471099"/>
            <p14:sldId id="2147471098"/>
            <p14:sldId id="2134804520"/>
            <p14:sldId id="2147471094"/>
            <p14:sldId id="1462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onica logozzo" initials="Ml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63D"/>
    <a:srgbClr val="E7EFF8"/>
    <a:srgbClr val="0096D6"/>
    <a:srgbClr val="7886AF"/>
    <a:srgbClr val="57617F"/>
    <a:srgbClr val="B9B9B9"/>
    <a:srgbClr val="4F81BD"/>
    <a:srgbClr val="FFDF79"/>
    <a:srgbClr val="7DC7FF"/>
    <a:srgbClr val="FFE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113A9D2-9D6B-4929-AA2D-F23B5EE8CBE7}" styleName="Stile con tema 2 - Colore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Stile chiaro 3 - Colore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134" autoAdjust="0"/>
    <p:restoredTop sz="94660"/>
  </p:normalViewPr>
  <p:slideViewPr>
    <p:cSldViewPr>
      <p:cViewPr varScale="1">
        <p:scale>
          <a:sx n="108" d="100"/>
          <a:sy n="108" d="100"/>
        </p:scale>
        <p:origin x="58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641FC5-EC6C-4722-BBB6-211B079130FF}" type="datetimeFigureOut">
              <a:rPr lang="it-IT" smtClean="0"/>
              <a:t>30/05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95FE6B-3E99-4A77-B021-F0A2C66924E1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46028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3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1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27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-222250" y="808038"/>
            <a:ext cx="7185025" cy="40417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377BB1-BB3E-4EDF-B5FC-A3BA0BC965C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13365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503901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34466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4786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94FA7E20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02341" tIns="51172" rIns="102341" bIns="51172" anchor="b"/>
          <a:lstStyle>
            <a:lvl1pPr>
              <a:lnSpc>
                <a:spcPct val="90000"/>
              </a:lnSpc>
              <a:defRPr sz="5200" spc="-112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02341" tIns="51172" rIns="102341" bIns="51172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3588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92" y="1584001"/>
            <a:ext cx="5171017" cy="4296588"/>
          </a:xfrm>
          <a:prstGeom prst="rect">
            <a:avLst/>
          </a:prstGeom>
        </p:spPr>
        <p:txBody>
          <a:bodyPr lIns="102341" tIns="51172" rIns="102341" bIns="51172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02341" tIns="51172" rIns="102341" bIns="51172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7172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02341" tIns="51172" rIns="102341" bIns="51172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6555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2667000"/>
            <a:ext cx="9141619" cy="2286000"/>
          </a:xfrm>
          <a:prstGeom prst="rect">
            <a:avLst/>
          </a:prstGeom>
        </p:spPr>
        <p:txBody>
          <a:bodyPr lIns="63964" tIns="31980" rIns="63964" bIns="31980" anchor="b">
            <a:noAutofit/>
          </a:bodyPr>
          <a:lstStyle>
            <a:lvl1pPr>
              <a:lnSpc>
                <a:spcPct val="80000"/>
              </a:lnSpc>
              <a:defRPr sz="67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6" y="4939697"/>
            <a:ext cx="9141619" cy="699107"/>
          </a:xfrm>
          <a:prstGeom prst="rect">
            <a:avLst/>
          </a:prstGeom>
        </p:spPr>
        <p:txBody>
          <a:bodyPr wrap="square" lIns="63964" tIns="31980" rIns="63964" bIns="3198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700"/>
            </a:lvl1pPr>
            <a:lvl2pPr marL="0" indent="0">
              <a:spcBef>
                <a:spcPts val="0"/>
              </a:spcBef>
              <a:buFontTx/>
              <a:buNone/>
              <a:defRPr sz="1700"/>
            </a:lvl2pPr>
            <a:lvl3pPr marL="0" indent="0">
              <a:spcBef>
                <a:spcPts val="0"/>
              </a:spcBef>
              <a:buFontTx/>
              <a:buNone/>
              <a:defRPr sz="1700"/>
            </a:lvl3pPr>
            <a:lvl4pPr marL="0" indent="0">
              <a:spcBef>
                <a:spcPts val="0"/>
              </a:spcBef>
              <a:buFontTx/>
              <a:buNone/>
              <a:defRPr sz="1700"/>
            </a:lvl4pPr>
            <a:lvl5pPr marL="0" indent="0">
              <a:spcBef>
                <a:spcPts val="0"/>
              </a:spcBef>
              <a:buFontTx/>
              <a:buNone/>
              <a:defRPr sz="1700"/>
            </a:lvl5pPr>
            <a:lvl6pPr marL="0" indent="0">
              <a:spcBef>
                <a:spcPts val="0"/>
              </a:spcBef>
              <a:buFontTx/>
              <a:buNone/>
              <a:defRPr sz="1700"/>
            </a:lvl6pPr>
            <a:lvl7pPr marL="0" indent="0">
              <a:spcBef>
                <a:spcPts val="0"/>
              </a:spcBef>
              <a:buFontTx/>
              <a:buNone/>
              <a:defRPr sz="1700"/>
            </a:lvl7pPr>
            <a:lvl8pPr marL="0" indent="0">
              <a:spcBef>
                <a:spcPts val="0"/>
              </a:spcBef>
              <a:buFontTx/>
              <a:buNone/>
              <a:defRPr sz="1700"/>
            </a:lvl8pPr>
            <a:lvl9pPr marL="0" indent="0">
              <a:spcBef>
                <a:spcPts val="0"/>
              </a:spcBef>
              <a:buFontTx/>
              <a:buNone/>
              <a:defRPr sz="17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5791200"/>
            <a:ext cx="9141619" cy="457200"/>
          </a:xfrm>
          <a:prstGeom prst="rect">
            <a:avLst/>
          </a:prstGeom>
        </p:spPr>
        <p:txBody>
          <a:bodyPr wrap="square" lIns="63964" tIns="31980" rIns="63964" bIns="3198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/>
            </a:lvl1pPr>
            <a:lvl2pPr marL="0" indent="0">
              <a:spcBef>
                <a:spcPts val="0"/>
              </a:spcBef>
              <a:buFontTx/>
              <a:buNone/>
              <a:defRPr sz="1700"/>
            </a:lvl2pPr>
            <a:lvl3pPr marL="0" indent="0">
              <a:spcBef>
                <a:spcPts val="0"/>
              </a:spcBef>
              <a:buFontTx/>
              <a:buNone/>
              <a:defRPr sz="1700"/>
            </a:lvl3pPr>
            <a:lvl4pPr marL="0" indent="0">
              <a:spcBef>
                <a:spcPts val="0"/>
              </a:spcBef>
              <a:buFontTx/>
              <a:buNone/>
              <a:defRPr sz="1700"/>
            </a:lvl4pPr>
            <a:lvl5pPr marL="0" indent="0">
              <a:spcBef>
                <a:spcPts val="0"/>
              </a:spcBef>
              <a:buFontTx/>
              <a:buNone/>
              <a:defRPr sz="1700"/>
            </a:lvl5pPr>
            <a:lvl6pPr marL="0" indent="0">
              <a:spcBef>
                <a:spcPts val="0"/>
              </a:spcBef>
              <a:buFontTx/>
              <a:buNone/>
              <a:defRPr sz="1700"/>
            </a:lvl6pPr>
            <a:lvl7pPr marL="0" indent="0">
              <a:spcBef>
                <a:spcPts val="0"/>
              </a:spcBef>
              <a:buFontTx/>
              <a:buNone/>
              <a:defRPr sz="1700"/>
            </a:lvl7pPr>
            <a:lvl8pPr marL="0" indent="0">
              <a:spcBef>
                <a:spcPts val="0"/>
              </a:spcBef>
              <a:buFontTx/>
              <a:buNone/>
              <a:defRPr sz="1700"/>
            </a:lvl8pPr>
            <a:lvl9pPr marL="0" indent="0">
              <a:spcBef>
                <a:spcPts val="0"/>
              </a:spcBef>
              <a:buFontTx/>
              <a:buNone/>
              <a:defRPr sz="1700"/>
            </a:lvl9pPr>
          </a:lstStyle>
          <a:p>
            <a:pPr lvl="0"/>
            <a:r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47" y="418134"/>
            <a:ext cx="4896611" cy="5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302" y="418134"/>
            <a:ext cx="278350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13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"/>
          <p:cNvSpPr>
            <a:spLocks noChangeAspect="1"/>
          </p:cNvSpPr>
          <p:nvPr/>
        </p:nvSpPr>
        <p:spPr bwMode="black">
          <a:xfrm>
            <a:off x="302951" y="0"/>
            <a:ext cx="608541" cy="533136"/>
          </a:xfrm>
          <a:custGeom>
            <a:avLst/>
            <a:gdLst>
              <a:gd name="T0" fmla="*/ 0 w 370"/>
              <a:gd name="T1" fmla="*/ 0 h 321"/>
              <a:gd name="T2" fmla="*/ 0 w 370"/>
              <a:gd name="T3" fmla="*/ 0 h 321"/>
              <a:gd name="T4" fmla="*/ 184 w 370"/>
              <a:gd name="T5" fmla="*/ 321 h 321"/>
              <a:gd name="T6" fmla="*/ 370 w 370"/>
              <a:gd name="T7" fmla="*/ 0 h 321"/>
              <a:gd name="T8" fmla="*/ 0 w 370"/>
              <a:gd name="T9" fmla="*/ 0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70" h="321">
                <a:moveTo>
                  <a:pt x="0" y="0"/>
                </a:moveTo>
                <a:lnTo>
                  <a:pt x="0" y="0"/>
                </a:lnTo>
                <a:lnTo>
                  <a:pt x="184" y="321"/>
                </a:lnTo>
                <a:lnTo>
                  <a:pt x="370" y="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lIns="102351" tIns="51177" rIns="102351" bIns="51177"/>
          <a:lstStyle/>
          <a:p>
            <a:pPr defTabSz="1023495">
              <a:defRPr/>
            </a:pPr>
            <a:endParaRPr lang="en-US" sz="320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71503" y="1714505"/>
            <a:ext cx="9334500" cy="4267729"/>
          </a:xfrm>
          <a:prstGeom prst="rect">
            <a:avLst/>
          </a:prstGeom>
        </p:spPr>
        <p:txBody>
          <a:bodyPr lIns="63979" tIns="31988" rIns="63979" bIns="31988"/>
          <a:lstStyle>
            <a:lvl1pPr>
              <a:lnSpc>
                <a:spcPct val="85000"/>
              </a:lnSpc>
              <a:spcBef>
                <a:spcPts val="0"/>
              </a:spcBef>
              <a:defRPr sz="4200"/>
            </a:lvl1pPr>
            <a:lvl2pPr marL="0" indent="0">
              <a:spcBef>
                <a:spcPts val="630"/>
              </a:spcBef>
              <a:buFontTx/>
              <a:buNone/>
              <a:defRPr/>
            </a:lvl2pPr>
            <a:lvl3pPr marL="0" indent="0">
              <a:spcBef>
                <a:spcPts val="630"/>
              </a:spcBef>
              <a:buFontTx/>
              <a:buNone/>
              <a:defRPr/>
            </a:lvl3pPr>
            <a:lvl4pPr marL="0" indent="0">
              <a:spcBef>
                <a:spcPts val="630"/>
              </a:spcBef>
              <a:buFontTx/>
              <a:buNone/>
              <a:defRPr/>
            </a:lvl4pPr>
            <a:lvl5pPr marL="0" indent="0">
              <a:spcBef>
                <a:spcPts val="630"/>
              </a:spcBef>
              <a:buFontTx/>
              <a:buNone/>
              <a:defRPr/>
            </a:lvl5pPr>
            <a:lvl6pPr marL="0" indent="0">
              <a:spcBef>
                <a:spcPts val="630"/>
              </a:spcBef>
              <a:buFontTx/>
              <a:buNone/>
              <a:defRPr baseline="0"/>
            </a:lvl6pPr>
            <a:lvl7pPr marL="0" indent="0">
              <a:spcBef>
                <a:spcPts val="630"/>
              </a:spcBef>
              <a:buFontTx/>
              <a:buNone/>
              <a:defRPr baseline="0"/>
            </a:lvl7pPr>
            <a:lvl8pPr marL="0" indent="0">
              <a:spcBef>
                <a:spcPts val="630"/>
              </a:spcBef>
              <a:buFontTx/>
              <a:buNone/>
              <a:defRPr baseline="0"/>
            </a:lvl8pPr>
            <a:lvl9pPr marL="0" indent="0">
              <a:spcBef>
                <a:spcPts val="630"/>
              </a:spcBef>
              <a:buFontTx/>
              <a:buNone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704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46250" tIns="73126" rIns="146250" bIns="73126" anchor="b"/>
          <a:lstStyle>
            <a:lvl1pPr>
              <a:lnSpc>
                <a:spcPct val="90000"/>
              </a:lnSpc>
              <a:defRPr sz="4700" spc="-1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46250" tIns="73126" rIns="146250" bIns="73126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05400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9239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 defTabSz="45703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6282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4533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573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1543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51172" rIns="102341" bIns="5117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511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8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02341" tIns="51172" rIns="102341" bIns="51172" anchor="t">
            <a:noAutofit/>
          </a:bodyPr>
          <a:lstStyle>
            <a:lvl1pPr algn="l">
              <a:lnSpc>
                <a:spcPct val="90000"/>
              </a:lnSpc>
              <a:defRPr sz="4500" b="1" i="0" spc="-112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8249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4389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171387" indent="-171387">
              <a:buFont typeface="HP Simplified" pitchFamily="34" charset="0"/>
              <a:buChar char="•"/>
              <a:defRPr sz="1300" b="0">
                <a:solidFill>
                  <a:schemeClr val="tx1"/>
                </a:solidFill>
              </a:defRPr>
            </a:lvl1pPr>
            <a:lvl2pPr marL="342773" indent="-171387">
              <a:buSzPct val="80000"/>
              <a:buFont typeface="HP Simplified" pitchFamily="34" charset="0"/>
              <a:buChar char="–"/>
              <a:defRPr sz="1300">
                <a:solidFill>
                  <a:srgbClr val="000000"/>
                </a:solidFill>
              </a:defRPr>
            </a:lvl2pPr>
            <a:lvl3pPr marL="512574" indent="-169802">
              <a:defRPr sz="1300">
                <a:solidFill>
                  <a:srgbClr val="000000"/>
                </a:solidFill>
              </a:defRPr>
            </a:lvl3pPr>
            <a:lvl4pPr marL="690308" indent="-180909">
              <a:defRPr sz="1300">
                <a:solidFill>
                  <a:srgbClr val="000000"/>
                </a:solidFill>
              </a:defRPr>
            </a:lvl4pPr>
            <a:lvl5pPr marL="833132" indent="-150758">
              <a:defRPr sz="13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1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5922"/>
          </a:xfrm>
          <a:prstGeom prst="rect">
            <a:avLst/>
          </a:prstGeom>
          <a:ln>
            <a:noFill/>
          </a:ln>
        </p:spPr>
        <p:txBody>
          <a:bodyPr lIns="146250" tIns="73126" rIns="146250" bIns="73126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0644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82" y="1584001"/>
            <a:ext cx="5171017" cy="4296588"/>
          </a:xfrm>
          <a:prstGeom prst="rect">
            <a:avLst/>
          </a:prstGeom>
        </p:spPr>
        <p:txBody>
          <a:bodyPr lIns="146250" tIns="73126" rIns="146250" bIns="73126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5739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4301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16" tIns="54857" rIns="109716" bIns="54857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16" tIns="54857" rIns="109716" bIns="54857"/>
          <a:lstStyle>
            <a:lvl4pPr marL="285705" indent="-142853">
              <a:buFont typeface="Arial" pitchFamily="34" charset="0"/>
              <a:buChar char="–"/>
              <a:defRPr/>
            </a:lvl4pPr>
            <a:lvl5pPr marL="428557" indent="-142853">
              <a:buFont typeface="Arial" pitchFamily="34" charset="0"/>
              <a:buChar char="–"/>
              <a:defRPr/>
            </a:lvl5pPr>
            <a:lvl6pPr marL="571409" indent="-142853">
              <a:buFont typeface="Arial" pitchFamily="34" charset="0"/>
              <a:buChar char="–"/>
              <a:defRPr baseline="0"/>
            </a:lvl6pPr>
            <a:lvl7pPr marL="714260" indent="-142853">
              <a:buFont typeface="Arial" pitchFamily="34" charset="0"/>
              <a:buChar char="–"/>
              <a:defRPr baseline="0"/>
            </a:lvl7pPr>
            <a:lvl8pPr marL="857112" indent="-142853">
              <a:buFont typeface="Arial" pitchFamily="34" charset="0"/>
              <a:buChar char="–"/>
              <a:defRPr baseline="0"/>
            </a:lvl8pPr>
            <a:lvl9pPr marL="999965" indent="-142853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786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6DB770DE-692F-4463-A70D-B09B478A8FF9}" type="datetimeFigureOut">
              <a:rPr lang="it-IT" smtClean="0">
                <a:solidFill>
                  <a:srgbClr val="000000"/>
                </a:solidFill>
              </a:rPr>
              <a:pPr defTabSz="914253"/>
              <a:t>30/05/2023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421694A0-5733-4F47-9D72-01C16A72CC61}" type="slidenum">
              <a:rPr lang="it-IT" smtClean="0">
                <a:solidFill>
                  <a:srgbClr val="000000"/>
                </a:solidFill>
              </a:rPr>
              <a:pPr defTabSz="914253"/>
              <a:t>‹N›</a:t>
            </a:fld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4"/>
            <a:ext cx="9144000" cy="1608645"/>
          </a:xfrm>
          <a:prstGeom prst="rect">
            <a:avLst/>
          </a:prstGeom>
        </p:spPr>
        <p:txBody>
          <a:bodyPr lIns="146250" tIns="73126" rIns="146250" bIns="73126" anchor="b"/>
          <a:lstStyle>
            <a:lvl1pPr>
              <a:lnSpc>
                <a:spcPct val="90000"/>
              </a:lnSpc>
              <a:defRPr sz="4700" spc="-100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46250" tIns="73126" rIns="146250" bIns="73126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47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>
              <a:lnSpc>
                <a:spcPct val="90000"/>
              </a:lnSpc>
              <a:defRPr sz="4000" b="1" i="0" spc="-100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0070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45703" rIns="91407" bIns="4570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45703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7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46250" tIns="73126" rIns="146250" bIns="73126" anchor="t">
            <a:noAutofit/>
          </a:bodyPr>
          <a:lstStyle>
            <a:lvl1pPr algn="l" defTabSz="45703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000" b="1" i="0" kern="1200" spc="-100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1455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4" y="6047324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4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51172" rIns="102341" bIns="51172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511695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8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02341" tIns="51172" rIns="102341" bIns="51172" anchor="t">
            <a:noAutofit/>
          </a:bodyPr>
          <a:lstStyle>
            <a:lvl1pPr algn="l" defTabSz="511695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4500" b="1" i="0" kern="1200" spc="-112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28285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7533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932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07" tIns="45703" rIns="91407" bIns="45703" anchor="ctr"/>
          <a:lstStyle/>
          <a:p>
            <a:pPr algn="ctr" defTabSz="457030">
              <a:defRPr/>
            </a:pPr>
            <a:endParaRPr lang="en-US" sz="12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3360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740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171387" indent="-171387">
              <a:buFont typeface="HP Simplified" pitchFamily="34" charset="0"/>
              <a:buChar char="•"/>
              <a:defRPr sz="1300" b="0">
                <a:solidFill>
                  <a:schemeClr val="tx1"/>
                </a:solidFill>
              </a:defRPr>
            </a:lvl1pPr>
            <a:lvl2pPr marL="342773" indent="-171387">
              <a:buSzPct val="80000"/>
              <a:buFont typeface="HP Simplified" pitchFamily="34" charset="0"/>
              <a:buChar char="–"/>
              <a:defRPr sz="1300">
                <a:solidFill>
                  <a:srgbClr val="000000"/>
                </a:solidFill>
              </a:defRPr>
            </a:lvl2pPr>
            <a:lvl3pPr marL="512574" indent="-169802">
              <a:defRPr sz="1300">
                <a:solidFill>
                  <a:srgbClr val="000000"/>
                </a:solidFill>
              </a:defRPr>
            </a:lvl3pPr>
            <a:lvl4pPr marL="690308" indent="-180909">
              <a:defRPr sz="1300">
                <a:solidFill>
                  <a:srgbClr val="000000"/>
                </a:solidFill>
              </a:defRPr>
            </a:lvl4pPr>
            <a:lvl5pPr marL="833132" indent="-150758">
              <a:defRPr sz="13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4568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5922"/>
          </a:xfrm>
          <a:prstGeom prst="rect">
            <a:avLst/>
          </a:prstGeom>
          <a:ln>
            <a:noFill/>
          </a:ln>
        </p:spPr>
        <p:txBody>
          <a:bodyPr lIns="146250" tIns="73126" rIns="146250" bIns="73126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193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82" y="1584001"/>
            <a:ext cx="5171017" cy="4296588"/>
          </a:xfrm>
          <a:prstGeom prst="rect">
            <a:avLst/>
          </a:prstGeom>
        </p:spPr>
        <p:txBody>
          <a:bodyPr lIns="146250" tIns="73126" rIns="146250" bIns="73126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041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6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6" y="531289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1"/>
            <a:ext cx="11280140" cy="573024"/>
          </a:xfrm>
          <a:prstGeom prst="rect">
            <a:avLst/>
          </a:prstGeom>
        </p:spPr>
        <p:txBody>
          <a:bodyPr lIns="146250" tIns="73126" rIns="146250" bIns="73126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8"/>
            <a:ext cx="3364992" cy="4296833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4" y="1584960"/>
            <a:ext cx="3369733" cy="4296832"/>
          </a:xfrm>
          <a:prstGeom prst="rect">
            <a:avLst/>
          </a:prstGeom>
        </p:spPr>
        <p:txBody>
          <a:bodyPr lIns="146250" tIns="73126" rIns="146250" bIns="73126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46250" tIns="73126" rIns="146250" bIns="73126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4570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1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2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07072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with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7" y="2667000"/>
            <a:ext cx="9141619" cy="2286000"/>
          </a:xfrm>
          <a:prstGeom prst="rect">
            <a:avLst/>
          </a:prstGeom>
        </p:spPr>
        <p:txBody>
          <a:bodyPr lIns="91407" tIns="45703" rIns="91407" bIns="45703" anchor="b">
            <a:noAutofit/>
          </a:bodyPr>
          <a:lstStyle>
            <a:lvl1pPr>
              <a:lnSpc>
                <a:spcPct val="80000"/>
              </a:lnSpc>
              <a:defRPr sz="6000"/>
            </a:lvl1pPr>
          </a:lstStyle>
          <a:p>
            <a:r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8016" y="4939697"/>
            <a:ext cx="9141619" cy="699107"/>
          </a:xfrm>
          <a:prstGeom prst="rect">
            <a:avLst/>
          </a:prstGeom>
        </p:spPr>
        <p:txBody>
          <a:bodyPr wrap="square" lIns="91407" tIns="45703" rIns="91407" bIns="45703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33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8016" y="5791200"/>
            <a:ext cx="9141619" cy="457200"/>
          </a:xfrm>
          <a:prstGeom prst="rect">
            <a:avLst/>
          </a:prstGeom>
        </p:spPr>
        <p:txBody>
          <a:bodyPr wrap="square" lIns="91407" tIns="45703" rIns="91407" bIns="45703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200"/>
            </a:lvl1pPr>
            <a:lvl2pPr marL="0" indent="0">
              <a:spcBef>
                <a:spcPts val="0"/>
              </a:spcBef>
              <a:buFontTx/>
              <a:buNone/>
              <a:defRPr sz="1500"/>
            </a:lvl2pPr>
            <a:lvl3pPr marL="0" indent="0">
              <a:spcBef>
                <a:spcPts val="0"/>
              </a:spcBef>
              <a:buFontTx/>
              <a:buNone/>
              <a:defRPr sz="1500"/>
            </a:lvl3pPr>
            <a:lvl4pPr marL="0" indent="0">
              <a:spcBef>
                <a:spcPts val="0"/>
              </a:spcBef>
              <a:buFontTx/>
              <a:buNone/>
              <a:defRPr sz="1500"/>
            </a:lvl4pPr>
            <a:lvl5pPr marL="0" indent="0">
              <a:spcBef>
                <a:spcPts val="0"/>
              </a:spcBef>
              <a:buFontTx/>
              <a:buNone/>
              <a:defRPr sz="1500"/>
            </a:lvl5pPr>
            <a:lvl6pPr marL="0" indent="0">
              <a:spcBef>
                <a:spcPts val="0"/>
              </a:spcBef>
              <a:buFontTx/>
              <a:buNone/>
              <a:defRPr sz="1500"/>
            </a:lvl6pPr>
            <a:lvl7pPr marL="0" indent="0">
              <a:spcBef>
                <a:spcPts val="0"/>
              </a:spcBef>
              <a:buFontTx/>
              <a:buNone/>
              <a:defRPr sz="1500"/>
            </a:lvl7pPr>
            <a:lvl8pPr marL="0" indent="0">
              <a:spcBef>
                <a:spcPts val="0"/>
              </a:spcBef>
              <a:buFontTx/>
              <a:buNone/>
              <a:defRPr sz="1500"/>
            </a:lvl8pPr>
            <a:lvl9pPr marL="0" indent="0">
              <a:spcBef>
                <a:spcPts val="0"/>
              </a:spcBef>
              <a:buFontTx/>
              <a:buNone/>
              <a:defRPr sz="1500"/>
            </a:lvl9pPr>
          </a:lstStyle>
          <a:p>
            <a:pPr lvl="0"/>
            <a:r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8847" y="418134"/>
            <a:ext cx="4896611" cy="54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6302" y="418134"/>
            <a:ext cx="2783507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718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16" tIns="54857" rIns="109716" bIns="54857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16" tIns="54857" rIns="109716" bIns="54857"/>
          <a:lstStyle>
            <a:lvl4pPr marL="285705" indent="-142853">
              <a:buFont typeface="Arial" pitchFamily="34" charset="0"/>
              <a:buChar char="–"/>
              <a:defRPr/>
            </a:lvl4pPr>
            <a:lvl5pPr marL="428557" indent="-142853">
              <a:buFont typeface="Arial" pitchFamily="34" charset="0"/>
              <a:buChar char="–"/>
              <a:defRPr/>
            </a:lvl5pPr>
            <a:lvl6pPr marL="571409" indent="-142853">
              <a:buFont typeface="Arial" pitchFamily="34" charset="0"/>
              <a:buChar char="–"/>
              <a:defRPr baseline="0"/>
            </a:lvl6pPr>
            <a:lvl7pPr marL="714260" indent="-142853">
              <a:buFont typeface="Arial" pitchFamily="34" charset="0"/>
              <a:buChar char="–"/>
              <a:defRPr baseline="0"/>
            </a:lvl7pPr>
            <a:lvl8pPr marL="857112" indent="-142853">
              <a:buFont typeface="Arial" pitchFamily="34" charset="0"/>
              <a:buChar char="–"/>
              <a:defRPr baseline="0"/>
            </a:lvl8pPr>
            <a:lvl9pPr marL="999965" indent="-142853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618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1457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6DB770DE-692F-4463-A70D-B09B478A8FF9}" type="datetimeFigureOut">
              <a:rPr lang="it-IT" smtClean="0">
                <a:solidFill>
                  <a:srgbClr val="000000"/>
                </a:solidFill>
              </a:rPr>
              <a:pPr defTabSz="914253"/>
              <a:t>30/05/2023</a:t>
            </a:fld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8"/>
            <a:ext cx="41148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 lIns="109716" tIns="54857" rIns="109716" bIns="54857"/>
          <a:lstStyle/>
          <a:p>
            <a:pPr defTabSz="914253"/>
            <a:fld id="{421694A0-5733-4F47-9D72-01C16A72CC61}" type="slidenum">
              <a:rPr lang="it-IT" smtClean="0">
                <a:solidFill>
                  <a:srgbClr val="000000"/>
                </a:solidFill>
              </a:rPr>
              <a:pPr defTabSz="914253"/>
              <a:t>‹N›</a:t>
            </a:fld>
            <a:endParaRPr lang="it-IT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220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234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75702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58695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4501738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7263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012669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6567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14145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91996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72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41" tIns="51172" rIns="102341" bIns="51172" anchor="ctr"/>
          <a:lstStyle/>
          <a:p>
            <a:pPr algn="ctr" defTabSz="511695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06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4151897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941297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584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53711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 per modificare lo stile del sottotitolo dello schem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693847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29796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 dirty="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14734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324734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8512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85125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2341" tIns="51172" rIns="102341" bIns="51172" anchor="ctr"/>
          <a:lstStyle/>
          <a:p>
            <a:pPr algn="ctr" defTabSz="511695">
              <a:defRPr/>
            </a:pPr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42" y="213335"/>
            <a:ext cx="9651417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1103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090967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79464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98244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86087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 dirty="0"/>
              <a:t>Fare clic per modificare lo stile del titolo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 dirty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124605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907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950410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73827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67667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203200" y="152400"/>
            <a:ext cx="88392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29600" cy="1066800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rgbClr val="4578A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108712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632251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9656" y="174000"/>
            <a:ext cx="5328592" cy="720080"/>
          </a:xfrm>
        </p:spPr>
        <p:txBody>
          <a:bodyPr anchor="ctr">
            <a:normAutofit/>
          </a:bodyPr>
          <a:lstStyle>
            <a:lvl1pPr algn="ctr">
              <a:defRPr lang="en-US" sz="2800" b="1" kern="1200" dirty="0">
                <a:solidFill>
                  <a:srgbClr val="009A44"/>
                </a:solidFill>
                <a:latin typeface="Arial" pitchFamily="34" charset="0"/>
                <a:ea typeface="HP Simplified"/>
                <a:cs typeface="Arial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pic>
        <p:nvPicPr>
          <p:cNvPr id="14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b="19673"/>
          <a:stretch/>
        </p:blipFill>
        <p:spPr bwMode="auto">
          <a:xfrm>
            <a:off x="9773606" y="6219618"/>
            <a:ext cx="1816732" cy="44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651B945E-1BC3-4767-AEC3-E6933D62FBD3}"/>
              </a:ext>
            </a:extLst>
          </p:cNvPr>
          <p:cNvCxnSpPr/>
          <p:nvPr userDrawn="1"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438C1B1E-F1FF-49F6-A465-396C4F2F37C4}"/>
              </a:ext>
            </a:extLst>
          </p:cNvPr>
          <p:cNvCxnSpPr/>
          <p:nvPr userDrawn="1"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id="{70BA9A61-BC58-4E89-AC80-587A2D9F9A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375" y="6179175"/>
            <a:ext cx="2609850" cy="4286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723414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5920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5" y="6318259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71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title slide "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 bwMode="black">
          <a:xfrm>
            <a:off x="438912" y="2715763"/>
            <a:ext cx="9144000" cy="1608645"/>
          </a:xfrm>
          <a:prstGeom prst="rect">
            <a:avLst/>
          </a:prstGeom>
        </p:spPr>
        <p:txBody>
          <a:bodyPr lIns="121885" tIns="60943" rIns="121885" bIns="60943" anchor="b"/>
          <a:lstStyle>
            <a:lvl1pPr>
              <a:lnSpc>
                <a:spcPct val="90000"/>
              </a:lnSpc>
              <a:defRPr sz="6200" spc="-133">
                <a:solidFill>
                  <a:schemeClr val="bg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4422171"/>
            <a:ext cx="9144000" cy="1219200"/>
          </a:xfrm>
          <a:prstGeom prst="rect">
            <a:avLst/>
          </a:prstGeom>
        </p:spPr>
        <p:txBody>
          <a:bodyPr lIns="121885" tIns="60943" rIns="121885" bIns="60943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3174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1699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>
              <a:lnSpc>
                <a:spcPct val="90000"/>
              </a:lnSpc>
              <a:defRPr sz="5300" b="1" i="0" spc="-133">
                <a:solidFill>
                  <a:schemeClr val="tx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969649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 with sub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41102" y="6047319"/>
            <a:ext cx="486833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 userDrawn="1"/>
        </p:nvSpPr>
        <p:spPr bwMode="auto">
          <a:xfrm>
            <a:off x="438151" y="6345767"/>
            <a:ext cx="10684933" cy="304800"/>
          </a:xfrm>
          <a:prstGeom prst="rect">
            <a:avLst/>
          </a:prstGeom>
          <a:noFill/>
          <a:ln>
            <a:noFill/>
          </a:ln>
        </p:spPr>
        <p:txBody>
          <a:bodyPr lIns="0" tIns="60943" rIns="121885" bIns="60943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60942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it-IT" sz="900">
                <a:solidFill>
                  <a:prstClr val="white"/>
                </a:solidFill>
                <a:latin typeface="HP Simplified"/>
                <a:ea typeface="HP Simplified"/>
                <a:cs typeface="HP Simplified"/>
              </a:rPr>
              <a:t>© Copyright 2013 Hewlett-Packard Development Company, L.P.  The information contained herein is subject to change without notice.</a:t>
            </a:r>
          </a:p>
        </p:txBody>
      </p:sp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438913" y="321226"/>
            <a:ext cx="9629803" cy="2675604"/>
          </a:xfrm>
          <a:prstGeom prst="rect">
            <a:avLst/>
          </a:prstGeom>
        </p:spPr>
        <p:txBody>
          <a:bodyPr lIns="121885" tIns="60943" rIns="121885" bIns="60943" anchor="t">
            <a:noAutofit/>
          </a:bodyPr>
          <a:lstStyle>
            <a:lvl1pPr algn="l" defTabSz="609421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lang="en-US" sz="5300" b="1" i="0" kern="1200" spc="-133" noProof="0" dirty="0">
                <a:solidFill>
                  <a:schemeClr val="bg1"/>
                </a:solidFill>
                <a:latin typeface="HP Simplified" pitchFamily="34" charset="0"/>
                <a:ea typeface="+mj-ea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433694" y="4407148"/>
            <a:ext cx="6864096" cy="8656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0">
                <a:solidFill>
                  <a:srgbClr val="FFFFFF"/>
                </a:solidFill>
                <a:latin typeface="+mn-lt"/>
                <a:cs typeface="Arial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831039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955607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770467"/>
            <a:ext cx="12192000" cy="516467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50000"/>
                  <a:lumOff val="50000"/>
                </a:schemeClr>
              </a:gs>
              <a:gs pos="100000">
                <a:schemeClr val="bg1">
                  <a:lumMod val="75000"/>
                </a:schemeClr>
              </a:gs>
            </a:gsLst>
            <a:lin ang="5400000" scaled="0"/>
            <a:tileRect/>
          </a:gradFill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87977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"/>
          <p:cNvSpPr/>
          <p:nvPr userDrawn="1"/>
        </p:nvSpPr>
        <p:spPr>
          <a:xfrm>
            <a:off x="0" y="1"/>
            <a:ext cx="12192000" cy="952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1885" tIns="60943" rIns="121885" bIns="60943" anchor="ctr"/>
          <a:lstStyle/>
          <a:p>
            <a:pPr algn="ctr" defTabSz="609421">
              <a:defRPr/>
            </a:pPr>
            <a:endParaRPr lang="en-US" sz="1600">
              <a:solidFill>
                <a:prstClr val="white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1610438" y="213335"/>
            <a:ext cx="9651418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602830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65"/>
          <a:stretch>
            <a:fillRect/>
          </a:stretch>
        </p:blipFill>
        <p:spPr bwMode="auto">
          <a:xfrm>
            <a:off x="74084" y="6318254"/>
            <a:ext cx="6525683" cy="467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04722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0822942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0"/>
            <a:ext cx="10822942" cy="574516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228534" indent="-228534">
              <a:buFont typeface="HP Simplified" pitchFamily="34" charset="0"/>
              <a:buChar char="•"/>
              <a:defRPr sz="1700" b="0">
                <a:solidFill>
                  <a:schemeClr val="tx1"/>
                </a:solidFill>
              </a:defRPr>
            </a:lvl1pPr>
            <a:lvl2pPr marL="457068" indent="-228534">
              <a:buSzPct val="80000"/>
              <a:buFont typeface="HP Simplified" pitchFamily="34" charset="0"/>
              <a:buChar char="–"/>
              <a:defRPr sz="1700">
                <a:solidFill>
                  <a:srgbClr val="000000"/>
                </a:solidFill>
              </a:defRPr>
            </a:lvl2pPr>
            <a:lvl3pPr marL="683488" indent="-226420">
              <a:defRPr sz="1700">
                <a:solidFill>
                  <a:srgbClr val="000000"/>
                </a:solidFill>
              </a:defRPr>
            </a:lvl3pPr>
            <a:lvl4pPr marL="920484" indent="-241230">
              <a:defRPr sz="1700">
                <a:solidFill>
                  <a:srgbClr val="000000"/>
                </a:solidFill>
              </a:defRPr>
            </a:lvl4pPr>
            <a:lvl5pPr marL="1110930" indent="-201027">
              <a:defRPr sz="17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94197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2" y="313419"/>
            <a:ext cx="11280140" cy="520627"/>
          </a:xfrm>
          <a:prstGeom prst="rect">
            <a:avLst/>
          </a:prstGeom>
          <a:ln>
            <a:noFill/>
          </a:ln>
        </p:spPr>
        <p:txBody>
          <a:bodyPr lIns="121885" tIns="60943" rIns="121885" bIns="60943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3"/>
            <a:ext cx="5374216" cy="4293025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67" y="1584960"/>
            <a:ext cx="5171018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16214247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, sub titl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6091777" y="1584001"/>
            <a:ext cx="5171018" cy="4296588"/>
          </a:xfrm>
          <a:prstGeom prst="rect">
            <a:avLst/>
          </a:prstGeom>
        </p:spPr>
        <p:txBody>
          <a:bodyPr lIns="121885" tIns="60943" rIns="121885" bIns="60943" rtlCol="0" anchor="ctr">
            <a:noAutofit/>
          </a:bodyPr>
          <a:lstStyle>
            <a:lvl1pPr algn="ctr"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7760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2" y="1584961"/>
            <a:ext cx="5348816" cy="4293024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50227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 title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0822941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4" y="313420"/>
            <a:ext cx="10822941" cy="574516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38914" y="1584962"/>
            <a:ext cx="10826496" cy="4305300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191888" indent="-191888">
              <a:buFont typeface="HP Simplified" pitchFamily="34" charset="0"/>
              <a:buChar char="•"/>
              <a:defRPr sz="1500" b="0">
                <a:solidFill>
                  <a:schemeClr val="tx1"/>
                </a:solidFill>
              </a:defRPr>
            </a:lvl1pPr>
            <a:lvl2pPr marL="383775" indent="-191888">
              <a:buSzPct val="80000"/>
              <a:buFont typeface="HP Simplified" pitchFamily="34" charset="0"/>
              <a:buChar char="–"/>
              <a:defRPr sz="1500">
                <a:solidFill>
                  <a:srgbClr val="000000"/>
                </a:solidFill>
              </a:defRPr>
            </a:lvl2pPr>
            <a:lvl3pPr marL="573888" indent="-190112">
              <a:defRPr sz="1500">
                <a:solidFill>
                  <a:srgbClr val="000000"/>
                </a:solidFill>
              </a:defRPr>
            </a:lvl3pPr>
            <a:lvl4pPr marL="772875" indent="-202548">
              <a:defRPr sz="1500">
                <a:solidFill>
                  <a:srgbClr val="000000"/>
                </a:solidFill>
              </a:defRPr>
            </a:lvl4pPr>
            <a:lvl5pPr marL="932779" indent="-168790">
              <a:defRPr sz="1500"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54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title, sub title with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0434" y="393701"/>
            <a:ext cx="1390651" cy="52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334" y="531285"/>
            <a:ext cx="924984" cy="309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438912" y="313421"/>
            <a:ext cx="11280140" cy="573024"/>
          </a:xfrm>
          <a:prstGeom prst="rect">
            <a:avLst/>
          </a:prstGeom>
        </p:spPr>
        <p:txBody>
          <a:bodyPr lIns="121885" tIns="60943" rIns="121885" bIns="60943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38912" y="1584960"/>
            <a:ext cx="3364992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7"/>
          </p:nvPr>
        </p:nvSpPr>
        <p:spPr>
          <a:xfrm>
            <a:off x="4165981" y="1584964"/>
            <a:ext cx="3364992" cy="4296833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8"/>
          </p:nvPr>
        </p:nvSpPr>
        <p:spPr>
          <a:xfrm>
            <a:off x="7893051" y="1584960"/>
            <a:ext cx="3369733" cy="4296832"/>
          </a:xfrm>
          <a:prstGeom prst="rect">
            <a:avLst/>
          </a:prstGeom>
        </p:spPr>
        <p:txBody>
          <a:bodyPr lIns="121885" tIns="60943" rIns="121885" bIns="60943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2" y="1001854"/>
            <a:ext cx="11280140" cy="369332"/>
          </a:xfrm>
          <a:prstGeom prst="rect">
            <a:avLst/>
          </a:prstGeom>
        </p:spPr>
        <p:txBody>
          <a:bodyPr lIns="121885" tIns="60943" rIns="121885" bIns="60943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6094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8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3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108078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1500" y="1714499"/>
            <a:ext cx="5334000" cy="4267730"/>
          </a:xfrm>
          <a:prstGeom prst="rect">
            <a:avLst/>
          </a:prstGeom>
          <a:noFill/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 marL="380970" indent="-190484">
              <a:buFont typeface="Arial" pitchFamily="34" charset="0"/>
              <a:buChar char="–"/>
              <a:defRPr sz="1700"/>
            </a:lvl4pPr>
            <a:lvl5pPr marL="571454" indent="-190484">
              <a:buFont typeface="Arial" pitchFamily="34" charset="0"/>
              <a:buChar char="–"/>
              <a:defRPr sz="1700"/>
            </a:lvl5pPr>
            <a:lvl6pPr marL="761940" indent="-190484">
              <a:buFont typeface="Arial" pitchFamily="34" charset="0"/>
              <a:buChar char="–"/>
              <a:defRPr sz="1700" baseline="0"/>
            </a:lvl6pPr>
            <a:lvl7pPr marL="952424" indent="-190484">
              <a:buFont typeface="Arial" pitchFamily="34" charset="0"/>
              <a:buChar char="–"/>
              <a:defRPr sz="1700" baseline="0"/>
            </a:lvl7pPr>
            <a:lvl8pPr marL="1142908" indent="-190484">
              <a:buFont typeface="Arial" pitchFamily="34" charset="0"/>
              <a:buChar char="–"/>
              <a:defRPr sz="1700" baseline="0"/>
            </a:lvl8pPr>
            <a:lvl9pPr marL="1333393" indent="-190484">
              <a:buFont typeface="Arial" pitchFamily="34" charset="0"/>
              <a:buChar char="–"/>
              <a:defRPr sz="17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86500" y="1714499"/>
            <a:ext cx="5334000" cy="4267728"/>
          </a:xfrm>
          <a:prstGeom prst="rect">
            <a:avLst/>
          </a:prstGeom>
        </p:spPr>
        <p:txBody>
          <a:bodyPr lIns="91436" tIns="45718" rIns="91436" bIns="45718">
            <a:normAutofit/>
          </a:bodyPr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700" baseline="0"/>
            </a:lvl6pPr>
            <a:lvl7pPr>
              <a:defRPr sz="1700" baseline="0"/>
            </a:lvl7pPr>
            <a:lvl8pPr>
              <a:defRPr sz="1700" baseline="0"/>
            </a:lvl8pPr>
            <a:lvl9pPr>
              <a:defRPr sz="17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91436" tIns="45718" rIns="91436" bIns="45718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077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19149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gina con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44000" y="6473827"/>
            <a:ext cx="28448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"/>
            <a:ext cx="12192000" cy="676676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-203200" y="152400"/>
            <a:ext cx="8839200" cy="609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04800" y="228601"/>
            <a:ext cx="8229600" cy="1066800"/>
          </a:xfrm>
          <a:prstGeom prst="rect">
            <a:avLst/>
          </a:prstGeom>
        </p:spPr>
        <p:txBody>
          <a:bodyPr/>
          <a:lstStyle>
            <a:lvl1pPr algn="l">
              <a:defRPr sz="2800" b="0">
                <a:solidFill>
                  <a:srgbClr val="4578A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13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10871200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71838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1500" y="533136"/>
            <a:ext cx="11049000" cy="555604"/>
          </a:xfrm>
          <a:prstGeom prst="rect">
            <a:avLst/>
          </a:prstGeom>
        </p:spPr>
        <p:txBody>
          <a:bodyPr lIns="109728" tIns="54864" rIns="109728" bIns="5486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" y="1208757"/>
            <a:ext cx="11049000" cy="4773475"/>
          </a:xfrm>
          <a:prstGeom prst="rect">
            <a:avLst/>
          </a:prstGeom>
        </p:spPr>
        <p:txBody>
          <a:bodyPr lIns="109728" tIns="54864" rIns="109728" bIns="54864"/>
          <a:lstStyle>
            <a:lvl4pPr marL="285739" indent="-142869">
              <a:buFont typeface="Arial" pitchFamily="34" charset="0"/>
              <a:buChar char="–"/>
              <a:defRPr/>
            </a:lvl4pPr>
            <a:lvl5pPr marL="428608" indent="-142869">
              <a:buFont typeface="Arial" pitchFamily="34" charset="0"/>
              <a:buChar char="–"/>
              <a:defRPr/>
            </a:lvl5pPr>
            <a:lvl6pPr marL="571478" indent="-142869">
              <a:buFont typeface="Arial" pitchFamily="34" charset="0"/>
              <a:buChar char="–"/>
              <a:defRPr baseline="0"/>
            </a:lvl6pPr>
            <a:lvl7pPr marL="714346" indent="-142869">
              <a:buFont typeface="Arial" pitchFamily="34" charset="0"/>
              <a:buChar char="–"/>
              <a:defRPr baseline="0"/>
            </a:lvl7pPr>
            <a:lvl8pPr marL="857216" indent="-142869">
              <a:buFont typeface="Arial" pitchFamily="34" charset="0"/>
              <a:buChar char="–"/>
              <a:defRPr baseline="0"/>
            </a:lvl8pPr>
            <a:lvl9pPr marL="1000085" indent="-142869">
              <a:buFont typeface="Arial" pitchFamily="34" charset="0"/>
              <a:buChar char="–"/>
              <a:defRPr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724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58492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 title with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438914" y="313419"/>
            <a:ext cx="11280140" cy="441910"/>
          </a:xfrm>
          <a:prstGeom prst="rect">
            <a:avLst/>
          </a:prstGeom>
          <a:ln>
            <a:noFill/>
          </a:ln>
        </p:spPr>
        <p:txBody>
          <a:bodyPr lIns="102341" tIns="51172" rIns="102341" bIns="51172" rtlCol="0" anchor="t">
            <a:spAutoFit/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it-IT" noProof="0"/>
              <a:t>Fare clic per modificare lo stile del titolo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6"/>
          </p:nvPr>
        </p:nvSpPr>
        <p:spPr>
          <a:xfrm>
            <a:off x="438912" y="1584964"/>
            <a:ext cx="5374216" cy="4293025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7"/>
          </p:nvPr>
        </p:nvSpPr>
        <p:spPr>
          <a:xfrm>
            <a:off x="6091771" y="1584960"/>
            <a:ext cx="5171019" cy="4296832"/>
          </a:xfrm>
          <a:prstGeom prst="rect">
            <a:avLst/>
          </a:prstGeom>
        </p:spPr>
        <p:txBody>
          <a:bodyPr lIns="102341" tIns="51172" rIns="102341" bIns="51172"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 bwMode="black">
          <a:xfrm>
            <a:off x="438914" y="1001854"/>
            <a:ext cx="11280140" cy="369332"/>
          </a:xfrm>
          <a:prstGeom prst="rect">
            <a:avLst/>
          </a:prstGeom>
        </p:spPr>
        <p:txBody>
          <a:bodyPr lIns="102341" tIns="51172" rIns="102341" bIns="51172"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  <a:lvl2pPr marL="511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3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0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67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0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1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35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noProof="0"/>
              <a:t>Fare clic per modificare lo stile del sottotitolo dello schema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174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3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image" Target="../media/image13.jpe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6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image" Target="../media/image3.jpeg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5.jpeg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14.png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56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63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image" Target="../media/image14.png"/><Relationship Id="rId3" Type="http://schemas.openxmlformats.org/officeDocument/2006/relationships/slideLayout" Target="../slideLayouts/slideLayout72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10" Type="http://schemas.openxmlformats.org/officeDocument/2006/relationships/slideLayout" Target="../slideLayouts/slideLayout79.xml"/><Relationship Id="rId19" Type="http://schemas.openxmlformats.org/officeDocument/2006/relationships/image" Target="../media/image15.jpeg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51172" rIns="102341" bIns="51172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023393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8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023393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8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36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8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4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11695" rtl="0" eaLnBrk="0" fontAlgn="base" hangingPunct="0">
        <a:spcBef>
          <a:spcPct val="0"/>
        </a:spcBef>
        <a:spcAft>
          <a:spcPct val="0"/>
        </a:spcAft>
        <a:defRPr lang="en-GB" sz="22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511695" rtl="0" eaLnBrk="0" fontAlgn="base" hangingPunct="0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511695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023393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535084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046779" algn="l" defTabSz="511695" rtl="0" fontAlgn="base">
        <a:spcBef>
          <a:spcPct val="0"/>
        </a:spcBef>
        <a:spcAft>
          <a:spcPct val="0"/>
        </a:spcAft>
        <a:defRPr sz="22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511695" rtl="0" eaLnBrk="0" fontAlgn="base" hangingPunct="0">
        <a:spcBef>
          <a:spcPct val="0"/>
        </a:spcBef>
        <a:spcAft>
          <a:spcPts val="448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81492" rtl="0" eaLnBrk="0" fontAlgn="base" hangingPunct="0">
        <a:spcBef>
          <a:spcPct val="0"/>
        </a:spcBef>
        <a:spcAft>
          <a:spcPts val="448"/>
        </a:spcAft>
        <a:buSzPct val="100000"/>
        <a:buFont typeface="Lucida Grande"/>
        <a:defRPr sz="18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90112" indent="-190112" algn="l" defTabSz="511695" rtl="0" eaLnBrk="0" fontAlgn="base" hangingPunct="0">
        <a:spcBef>
          <a:spcPct val="0"/>
        </a:spcBef>
        <a:spcAft>
          <a:spcPts val="448"/>
        </a:spcAft>
        <a:buFont typeface="HP Simplified"/>
        <a:buChar char="•"/>
        <a:defRPr sz="15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81998" indent="-202548" algn="l" defTabSz="511695" rtl="0" eaLnBrk="0" fontAlgn="base" hangingPunct="0">
        <a:spcBef>
          <a:spcPct val="0"/>
        </a:spcBef>
        <a:spcAft>
          <a:spcPts val="448"/>
        </a:spcAft>
        <a:buSzPct val="80000"/>
        <a:buFont typeface="HP Simplified"/>
        <a:buChar char="–"/>
        <a:defRPr lang="en-US" sz="15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525910" indent="-168790" algn="l" defTabSz="511695" rtl="0" eaLnBrk="0" fontAlgn="base" hangingPunct="0">
        <a:spcBef>
          <a:spcPct val="0"/>
        </a:spcBef>
        <a:spcAft>
          <a:spcPts val="448"/>
        </a:spcAft>
        <a:buFont typeface="HP Simplified"/>
        <a:buChar char="•"/>
        <a:defRPr sz="15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558477" indent="0" algn="l" defTabSz="511695" rtl="0" eaLnBrk="1" latinLnBrk="0" hangingPunct="1">
        <a:lnSpc>
          <a:spcPts val="2800"/>
        </a:lnSpc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326022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37715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9417" indent="-255848" algn="l" defTabSz="511695" rtl="0" eaLnBrk="1" latinLnBrk="0" hangingPunct="1">
        <a:spcBef>
          <a:spcPct val="20000"/>
        </a:spcBef>
        <a:buFont typeface="Arial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695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393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084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6779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8477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0168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1870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3563" algn="l" defTabSz="511695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45703" rIns="91407" bIns="4570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7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7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29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72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4" r:id="rId12"/>
    <p:sldLayoutId id="214748376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030" rtl="0" eaLnBrk="0" fontAlgn="base" hangingPunct="0">
        <a:spcBef>
          <a:spcPct val="0"/>
        </a:spcBef>
        <a:spcAft>
          <a:spcPct val="0"/>
        </a:spcAft>
        <a:defRPr lang="en-GB" sz="19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457030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914062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371091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1828124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457030" rtl="0" eaLnBrk="0" fontAlgn="base" hangingPunct="0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30054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69802" indent="-169802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41188" indent="-180909" algn="l" defTabSz="457030" rtl="0" eaLnBrk="0" fontAlgn="base" hangingPunct="0">
        <a:spcBef>
          <a:spcPct val="0"/>
        </a:spcBef>
        <a:spcAft>
          <a:spcPts val="400"/>
        </a:spcAft>
        <a:buSzPct val="80000"/>
        <a:buFont typeface="HP Simplified"/>
        <a:buChar char="–"/>
        <a:defRPr lang="en-US" sz="13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469727" indent="-150758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285155" indent="0" algn="l" defTabSz="45703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00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2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65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2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1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2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55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8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17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48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72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45703" rIns="91407" bIns="4570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7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7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2" y="6225129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8" y="6028268"/>
            <a:ext cx="1627717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8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779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9" r:id="rId12"/>
    <p:sldLayoutId id="2147483780" r:id="rId13"/>
    <p:sldLayoutId id="214748378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457030" rtl="0" eaLnBrk="0" fontAlgn="base" hangingPunct="0">
        <a:spcBef>
          <a:spcPct val="0"/>
        </a:spcBef>
        <a:spcAft>
          <a:spcPct val="0"/>
        </a:spcAft>
        <a:defRPr lang="en-GB" sz="19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45703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457030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914062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371091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1828124" algn="l" defTabSz="457030" rtl="0" fontAlgn="base">
        <a:spcBef>
          <a:spcPct val="0"/>
        </a:spcBef>
        <a:spcAft>
          <a:spcPct val="0"/>
        </a:spcAft>
        <a:defRPr sz="19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457030" rtl="0" eaLnBrk="0" fontAlgn="base" hangingPunct="0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430054" rtl="0" eaLnBrk="0" fontAlgn="base" hangingPunct="0">
        <a:spcBef>
          <a:spcPct val="0"/>
        </a:spcBef>
        <a:spcAft>
          <a:spcPts val="400"/>
        </a:spcAft>
        <a:buSzPct val="100000"/>
        <a:buFont typeface="Lucida Grande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169802" indent="-169802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341188" indent="-180909" algn="l" defTabSz="457030" rtl="0" eaLnBrk="0" fontAlgn="base" hangingPunct="0">
        <a:spcBef>
          <a:spcPct val="0"/>
        </a:spcBef>
        <a:spcAft>
          <a:spcPts val="400"/>
        </a:spcAft>
        <a:buSzPct val="80000"/>
        <a:buFont typeface="HP Simplified"/>
        <a:buChar char="–"/>
        <a:defRPr lang="en-US" sz="13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469727" indent="-150758" algn="l" defTabSz="457030" rtl="0" eaLnBrk="0" fontAlgn="base" hangingPunct="0">
        <a:spcBef>
          <a:spcPct val="0"/>
        </a:spcBef>
        <a:spcAft>
          <a:spcPts val="400"/>
        </a:spcAft>
        <a:buFont typeface="HP Simplified"/>
        <a:buChar char="•"/>
        <a:defRPr sz="13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2285155" indent="0" algn="l" defTabSz="45703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700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2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65" indent="-228516" algn="l" defTabSz="457030" rtl="0" eaLnBrk="1" latinLnBrk="0" hangingPunct="1">
        <a:spcBef>
          <a:spcPct val="20000"/>
        </a:spcBef>
        <a:buFont typeface="Arial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30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62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91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2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155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184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217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248" algn="l" defTabSz="4570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5688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8" r:id="rId12"/>
    <p:sldLayoutId id="2147483830" r:id="rId13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 dirty="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443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4" r:id="rId13"/>
    <p:sldLayoutId id="2147483855" r:id="rId14"/>
    <p:sldLayoutId id="2147483858" r:id="rId15"/>
    <p:sldLayoutId id="2147483878" r:id="rId16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7"/>
          <p:cNvSpPr txBox="1">
            <a:spLocks noChangeArrowheads="1"/>
          </p:cNvSpPr>
          <p:nvPr/>
        </p:nvSpPr>
        <p:spPr bwMode="gray">
          <a:xfrm>
            <a:off x="438151" y="6383867"/>
            <a:ext cx="431800" cy="198967"/>
          </a:xfrm>
          <a:prstGeom prst="rect">
            <a:avLst/>
          </a:prstGeom>
          <a:noFill/>
          <a:ln>
            <a:noFill/>
          </a:ln>
        </p:spPr>
        <p:txBody>
          <a:bodyPr wrap="none" lIns="0" tIns="60943" rIns="121885" bIns="60943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1218847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1BA765E7-47A3-4488-975E-56B5886488EB}" type="slidenum">
              <a:rPr lang="en-US" altLang="it-IT" sz="900" smtClean="0">
                <a:solidFill>
                  <a:srgbClr val="B9B8BB"/>
                </a:solidFill>
                <a:latin typeface="HP Simplified"/>
                <a:ea typeface="HP Simplified"/>
                <a:cs typeface="HP Simplified"/>
              </a:rPr>
              <a:pPr defTabSz="1218847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N›</a:t>
            </a:fld>
            <a:endParaRPr lang="en-US" altLang="it-IT" sz="900">
              <a:solidFill>
                <a:srgbClr val="B9B8BB"/>
              </a:solidFill>
              <a:latin typeface="HP Simplified"/>
              <a:ea typeface="HP Simplified"/>
              <a:cs typeface="HP Simplified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5700" y="6225123"/>
            <a:ext cx="491067" cy="488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9" descr="http://www.practice-fp7-security.eu/uploads/40_aeb600461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2167" y="6028268"/>
            <a:ext cx="1627718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" y="0"/>
            <a:ext cx="12190227" cy="6858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685" y="6469593"/>
            <a:ext cx="1361016" cy="358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225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873" r:id="rId14"/>
    <p:sldLayoutId id="2147483874" r:id="rId15"/>
    <p:sldLayoutId id="2147483875" r:id="rId16"/>
  </p:sldLayoutIdLst>
  <p:hf hdr="0" ftr="0" dt="0"/>
  <p:txStyles>
    <p:titleStyle>
      <a:lvl1pPr algn="l" defTabSz="609421" rtl="0" eaLnBrk="0" fontAlgn="base" hangingPunct="0">
        <a:spcBef>
          <a:spcPct val="0"/>
        </a:spcBef>
        <a:spcAft>
          <a:spcPct val="0"/>
        </a:spcAft>
        <a:defRPr lang="en-GB" sz="2600" b="1" kern="1200" dirty="0">
          <a:solidFill>
            <a:schemeClr val="bg1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2pPr>
      <a:lvl3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3pPr>
      <a:lvl4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4pPr>
      <a:lvl5pPr algn="l" defTabSz="609421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5pPr>
      <a:lvl6pPr marL="609421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6pPr>
      <a:lvl7pPr marL="1218847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7pPr>
      <a:lvl8pPr marL="1828269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8pPr>
      <a:lvl9pPr marL="2437693" algn="l" defTabSz="609421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HP Simplified"/>
          <a:ea typeface="HP Simplified"/>
          <a:cs typeface="HP Simplified"/>
        </a:defRPr>
      </a:lvl9pPr>
    </p:titleStyle>
    <p:bodyStyle>
      <a:lvl1pPr algn="l" defTabSz="609421" rtl="0" eaLnBrk="0" fontAlgn="base" hangingPunct="0">
        <a:spcBef>
          <a:spcPct val="0"/>
        </a:spcBef>
        <a:spcAft>
          <a:spcPts val="533"/>
        </a:spcAft>
        <a:buSzPct val="100000"/>
        <a:buFont typeface="Arial" pitchFamily="34" charset="0"/>
        <a:defRPr b="1" kern="1200">
          <a:solidFill>
            <a:srgbClr val="0096D6"/>
          </a:solidFill>
          <a:latin typeface="HP Simplified" pitchFamily="34" charset="0"/>
          <a:ea typeface="HP Simplified"/>
          <a:cs typeface="HP Simplified" pitchFamily="34" charset="0"/>
        </a:defRPr>
      </a:lvl1pPr>
      <a:lvl2pPr algn="l" defTabSz="573452" rtl="0" eaLnBrk="0" fontAlgn="base" hangingPunct="0">
        <a:spcBef>
          <a:spcPct val="0"/>
        </a:spcBef>
        <a:spcAft>
          <a:spcPts val="533"/>
        </a:spcAft>
        <a:buSzPct val="100000"/>
        <a:buFont typeface="Lucida Grande"/>
        <a:defRPr sz="22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2pPr>
      <a:lvl3pPr marL="226420" indent="-226420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3pPr>
      <a:lvl4pPr marL="454953" indent="-241230" algn="l" defTabSz="609421" rtl="0" eaLnBrk="0" fontAlgn="base" hangingPunct="0">
        <a:spcBef>
          <a:spcPct val="0"/>
        </a:spcBef>
        <a:spcAft>
          <a:spcPts val="533"/>
        </a:spcAft>
        <a:buSzPct val="80000"/>
        <a:buFont typeface="HP Simplified"/>
        <a:buChar char="–"/>
        <a:defRPr lang="en-US" sz="1700" kern="1200" dirty="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4pPr>
      <a:lvl5pPr marL="626352" indent="-201027" algn="l" defTabSz="609421" rtl="0" eaLnBrk="0" fontAlgn="base" hangingPunct="0">
        <a:spcBef>
          <a:spcPct val="0"/>
        </a:spcBef>
        <a:spcAft>
          <a:spcPts val="533"/>
        </a:spcAft>
        <a:buFont typeface="HP Simplified"/>
        <a:buChar char="•"/>
        <a:defRPr sz="1700" kern="1200">
          <a:solidFill>
            <a:srgbClr val="000000"/>
          </a:solidFill>
          <a:latin typeface="HP Simplified" pitchFamily="34" charset="0"/>
          <a:ea typeface="HP Simplified"/>
          <a:cs typeface="HP Simplified" pitchFamily="34" charset="0"/>
        </a:defRPr>
      </a:lvl5pPr>
      <a:lvl6pPr marL="3047116" indent="0" algn="l" defTabSz="609421" rtl="0" eaLnBrk="1" latinLnBrk="0" hangingPunct="1">
        <a:lnSpc>
          <a:spcPts val="3333"/>
        </a:lnSpc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251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0675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099" indent="-304712" algn="l" defTabSz="609421" rtl="0" eaLnBrk="1" latinLnBrk="0" hangingPunct="1">
        <a:spcBef>
          <a:spcPct val="20000"/>
        </a:spcBef>
        <a:buFont typeface="Arial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21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47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6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93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11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539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964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386" algn="l" defTabSz="60942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94FA7E20"/><Relationship Id="rId2" Type="http://schemas.openxmlformats.org/officeDocument/2006/relationships/slideLayout" Target="../slideLayouts/slideLayout69.xml"/><Relationship Id="rId1" Type="http://schemas.openxmlformats.org/officeDocument/2006/relationships/tags" Target="../tags/tag1.xml"/><Relationship Id="rId6" Type="http://schemas.openxmlformats.org/officeDocument/2006/relationships/image" Target="../media/image17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6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gif"/><Relationship Id="rId1" Type="http://schemas.openxmlformats.org/officeDocument/2006/relationships/slideLayout" Target="../slideLayouts/slideLayout6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94FA7E20"/><Relationship Id="rId1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33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svg"/><Relationship Id="rId13" Type="http://schemas.openxmlformats.org/officeDocument/2006/relationships/image" Target="../media/image44.png"/><Relationship Id="rId18" Type="http://schemas.openxmlformats.org/officeDocument/2006/relationships/image" Target="../media/image49.svg"/><Relationship Id="rId3" Type="http://schemas.openxmlformats.org/officeDocument/2006/relationships/image" Target="../media/image34.png"/><Relationship Id="rId21" Type="http://schemas.openxmlformats.org/officeDocument/2006/relationships/image" Target="../media/image52.png"/><Relationship Id="rId7" Type="http://schemas.openxmlformats.org/officeDocument/2006/relationships/image" Target="../media/image38.png"/><Relationship Id="rId12" Type="http://schemas.openxmlformats.org/officeDocument/2006/relationships/image" Target="../media/image43.svg"/><Relationship Id="rId17" Type="http://schemas.openxmlformats.org/officeDocument/2006/relationships/image" Target="../media/image48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47.svg"/><Relationship Id="rId20" Type="http://schemas.openxmlformats.org/officeDocument/2006/relationships/image" Target="../media/image51.sv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37.sv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19" Type="http://schemas.openxmlformats.org/officeDocument/2006/relationships/image" Target="../media/image50.png"/><Relationship Id="rId4" Type="http://schemas.openxmlformats.org/officeDocument/2006/relationships/image" Target="../media/image35.svg"/><Relationship Id="rId9" Type="http://schemas.openxmlformats.org/officeDocument/2006/relationships/image" Target="../media/image40.png"/><Relationship Id="rId14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668195" y="858445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270" imgH="270" progId="TCLayout.ActiveDocument.1">
                  <p:embed/>
                </p:oleObj>
              </mc:Choice>
              <mc:Fallback>
                <p:oleObj name="Diapositiva think-cell" r:id="rId4" imgW="270" imgH="270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668195" y="858445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3"/>
          <p:cNvSpPr>
            <a:spLocks noChangeArrowheads="1"/>
          </p:cNvSpPr>
          <p:nvPr/>
        </p:nvSpPr>
        <p:spPr bwMode="auto">
          <a:xfrm>
            <a:off x="5689334" y="2921012"/>
            <a:ext cx="4708169" cy="13112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80" tIns="33692" rIns="67380" bIns="33692" anchor="ctr"/>
          <a:lstStyle/>
          <a:p>
            <a:pPr algn="r" defTabSz="722710" eaLnBrk="0" hangingPunct="0">
              <a:spcBef>
                <a:spcPct val="25000"/>
              </a:spcBef>
              <a:defRPr/>
            </a:pPr>
            <a:endParaRPr lang="it-IT" sz="2400" b="1" dirty="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11" name="Straight Connector 10"/>
          <p:cNvCxnSpPr>
            <a:cxnSpLocks/>
          </p:cNvCxnSpPr>
          <p:nvPr/>
        </p:nvCxnSpPr>
        <p:spPr>
          <a:xfrm>
            <a:off x="1055440" y="4164692"/>
            <a:ext cx="7855154" cy="0"/>
          </a:xfrm>
          <a:prstGeom prst="line">
            <a:avLst/>
          </a:prstGeom>
          <a:ln w="28575">
            <a:solidFill>
              <a:srgbClr val="005E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82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r="75401" b="19673"/>
          <a:stretch/>
        </p:blipFill>
        <p:spPr bwMode="auto">
          <a:xfrm>
            <a:off x="9111608" y="2315640"/>
            <a:ext cx="2335138" cy="2349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magine 13">
            <a:extLst>
              <a:ext uri="{FF2B5EF4-FFF2-40B4-BE49-F238E27FC236}">
                <a16:creationId xmlns:a16="http://schemas.microsoft.com/office/drawing/2014/main" id="{0B95D656-85CE-4AC7-AB00-596EBDE10A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0344" y="476672"/>
            <a:ext cx="3231311" cy="57606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olo 3">
            <a:extLst>
              <a:ext uri="{FF2B5EF4-FFF2-40B4-BE49-F238E27FC236}">
                <a16:creationId xmlns:a16="http://schemas.microsoft.com/office/drawing/2014/main" id="{6F378F5A-D7D2-9974-13C5-B7ACE5038E06}"/>
              </a:ext>
            </a:extLst>
          </p:cNvPr>
          <p:cNvSpPr txBox="1">
            <a:spLocks/>
          </p:cNvSpPr>
          <p:nvPr/>
        </p:nvSpPr>
        <p:spPr>
          <a:xfrm>
            <a:off x="1055440" y="3122982"/>
            <a:ext cx="7855154" cy="13255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lang="en-GB" sz="2600" b="1" kern="1200" dirty="0">
                <a:solidFill>
                  <a:schemeClr val="bg1"/>
                </a:solidFill>
                <a:latin typeface="HP Simplified" pitchFamily="34" charset="0"/>
                <a:ea typeface="HP Simplified"/>
                <a:cs typeface="HP Simplified" pitchFamily="34" charset="0"/>
              </a:defRPr>
            </a:lvl1pPr>
            <a:lvl2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2pPr>
            <a:lvl3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3pPr>
            <a:lvl4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4pPr>
            <a:lvl5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5pPr>
            <a:lvl6pPr marL="609421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6pPr>
            <a:lvl7pPr marL="1218847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7pPr>
            <a:lvl8pPr marL="1828269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8pPr>
            <a:lvl9pPr marL="2437693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9pPr>
          </a:lstStyle>
          <a:p>
            <a:pPr algn="r"/>
            <a:r>
              <a:rPr lang="it-IT" sz="3200" dirty="0">
                <a:solidFill>
                  <a:srgbClr val="0070C0"/>
                </a:solidFill>
              </a:rPr>
              <a:t>Dal Curriculum dello studente all’E-Portfolio</a:t>
            </a:r>
          </a:p>
          <a:p>
            <a:pPr algn="r"/>
            <a:endParaRPr lang="it-IT" sz="2400" b="0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744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BD78440-ADA3-673B-BAA2-7C8BE2DC1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1544" y="174000"/>
            <a:ext cx="8208912" cy="720080"/>
          </a:xfrm>
        </p:spPr>
        <p:txBody>
          <a:bodyPr>
            <a:normAutofit fontScale="90000"/>
          </a:bodyPr>
          <a:lstStyle/>
          <a:p>
            <a:r>
              <a:rPr lang="it-IT" dirty="0"/>
              <a:t>Curriculum dello studente e nuovi professionali</a:t>
            </a:r>
          </a:p>
        </p:txBody>
      </p:sp>
      <p:sp>
        <p:nvSpPr>
          <p:cNvPr id="3" name="Rettangolo 9">
            <a:extLst>
              <a:ext uri="{FF2B5EF4-FFF2-40B4-BE49-F238E27FC236}">
                <a16:creationId xmlns:a16="http://schemas.microsoft.com/office/drawing/2014/main" id="{E686920C-CEB6-EA82-C731-E24235BAF679}"/>
              </a:ext>
            </a:extLst>
          </p:cNvPr>
          <p:cNvSpPr/>
          <p:nvPr/>
        </p:nvSpPr>
        <p:spPr>
          <a:xfrm>
            <a:off x="623740" y="1408750"/>
            <a:ext cx="1093961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4400">
              <a:lnSpc>
                <a:spcPct val="90000"/>
              </a:lnSpc>
              <a:spcAft>
                <a:spcPts val="400"/>
              </a:spcAft>
            </a:pP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Al fine di declinare in maniera consapevole ogni indirizzo di studio, </a:t>
            </a:r>
            <a:r>
              <a:rPr lang="it-IT" sz="2000" b="1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il Regolamento di cui al 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.I. n. 92/2018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ha previsto, per gli Istituti professionali, </a:t>
            </a:r>
            <a:r>
              <a:rPr lang="it-IT" sz="2000" b="1" dirty="0">
                <a:solidFill>
                  <a:srgbClr val="5B9BD5">
                    <a:lumMod val="75000"/>
                  </a:srgb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l’introduzione di una descrizione univoca e sintetica del profilo in uscita degli studenti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diplomati attraverso l’utilizzo dei seguenti codici identificativi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da riportare nel Curriculum dello studente:</a:t>
            </a:r>
          </a:p>
        </p:txBody>
      </p:sp>
      <p:grpSp>
        <p:nvGrpSpPr>
          <p:cNvPr id="4" name="Group 43">
            <a:extLst>
              <a:ext uri="{FF2B5EF4-FFF2-40B4-BE49-F238E27FC236}">
                <a16:creationId xmlns:a16="http://schemas.microsoft.com/office/drawing/2014/main" id="{A0BDD8B5-F5F3-9FB6-6EC6-BF4CE286E65B}"/>
              </a:ext>
            </a:extLst>
          </p:cNvPr>
          <p:cNvGrpSpPr/>
          <p:nvPr/>
        </p:nvGrpSpPr>
        <p:grpSpPr>
          <a:xfrm>
            <a:off x="623740" y="3206654"/>
            <a:ext cx="10944520" cy="2009623"/>
            <a:chOff x="0" y="3308283"/>
            <a:chExt cx="10944520" cy="2009623"/>
          </a:xfrm>
        </p:grpSpPr>
        <p:grpSp>
          <p:nvGrpSpPr>
            <p:cNvPr id="5" name="Group 55">
              <a:extLst>
                <a:ext uri="{FF2B5EF4-FFF2-40B4-BE49-F238E27FC236}">
                  <a16:creationId xmlns:a16="http://schemas.microsoft.com/office/drawing/2014/main" id="{E2F1D4F9-CAB5-E68C-20A3-435FF268AAF4}"/>
                </a:ext>
              </a:extLst>
            </p:cNvPr>
            <p:cNvGrpSpPr/>
            <p:nvPr/>
          </p:nvGrpSpPr>
          <p:grpSpPr>
            <a:xfrm>
              <a:off x="0" y="3308283"/>
              <a:ext cx="1799918" cy="637669"/>
              <a:chOff x="-447266" y="2208645"/>
              <a:chExt cx="2733266" cy="914400"/>
            </a:xfrm>
            <a:solidFill>
              <a:srgbClr val="5B9BD5">
                <a:lumMod val="75000"/>
              </a:srgbClr>
            </a:solidFill>
          </p:grpSpPr>
          <p:sp>
            <p:nvSpPr>
              <p:cNvPr id="15" name="Hexagon 56">
                <a:extLst>
                  <a:ext uri="{FF2B5EF4-FFF2-40B4-BE49-F238E27FC236}">
                    <a16:creationId xmlns:a16="http://schemas.microsoft.com/office/drawing/2014/main" id="{3D74B617-0FF4-CD1D-6E25-0D6B4B306D42}"/>
                  </a:ext>
                </a:extLst>
              </p:cNvPr>
              <p:cNvSpPr/>
              <p:nvPr/>
            </p:nvSpPr>
            <p:spPr>
              <a:xfrm>
                <a:off x="-447266" y="2208645"/>
                <a:ext cx="2473170" cy="914400"/>
              </a:xfrm>
              <a:prstGeom prst="hexagon">
                <a:avLst/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it-IT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TECO</a:t>
                </a:r>
                <a:endParaRPr kumimoji="0" lang="en-US" sz="2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Arrow: Chevron 57">
                <a:extLst>
                  <a:ext uri="{FF2B5EF4-FFF2-40B4-BE49-F238E27FC236}">
                    <a16:creationId xmlns:a16="http://schemas.microsoft.com/office/drawing/2014/main" id="{6A0D56A1-BF0A-E359-DF06-E0A9471F274D}"/>
                  </a:ext>
                </a:extLst>
              </p:cNvPr>
              <p:cNvSpPr/>
              <p:nvPr/>
            </p:nvSpPr>
            <p:spPr>
              <a:xfrm>
                <a:off x="1870202" y="2208645"/>
                <a:ext cx="415798" cy="900148"/>
              </a:xfrm>
              <a:prstGeom prst="chevron">
                <a:avLst>
                  <a:gd name="adj" fmla="val 53448"/>
                </a:avLst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6" name="TextBox 45">
              <a:extLst>
                <a:ext uri="{FF2B5EF4-FFF2-40B4-BE49-F238E27FC236}">
                  <a16:creationId xmlns:a16="http://schemas.microsoft.com/office/drawing/2014/main" id="{311FD9DB-D300-4B11-3AE0-6CF7B34A8669}"/>
                </a:ext>
              </a:extLst>
            </p:cNvPr>
            <p:cNvSpPr txBox="1"/>
            <p:nvPr/>
          </p:nvSpPr>
          <p:spPr>
            <a:xfrm>
              <a:off x="1959061" y="3308284"/>
              <a:ext cx="8985459" cy="637200"/>
            </a:xfrm>
            <a:prstGeom prst="rect">
              <a:avLst/>
            </a:prstGeom>
            <a:noFill/>
            <a:ln w="12700">
              <a:solidFill>
                <a:srgbClr val="5B9BD5">
                  <a:lumMod val="75000"/>
                </a:srgbClr>
              </a:solidFill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</a:rPr>
                <a:t>indica l’attività economica di riferimento in cui lo studente si è specializzato durante il suo percorso scolastico</a:t>
              </a:r>
              <a:endParaRPr kumimoji="0" lang="it-IT" sz="180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7" name="Group 180">
              <a:extLst>
                <a:ext uri="{FF2B5EF4-FFF2-40B4-BE49-F238E27FC236}">
                  <a16:creationId xmlns:a16="http://schemas.microsoft.com/office/drawing/2014/main" id="{53783737-A96D-8B9F-8982-936FE0754CF8}"/>
                </a:ext>
              </a:extLst>
            </p:cNvPr>
            <p:cNvGrpSpPr/>
            <p:nvPr/>
          </p:nvGrpSpPr>
          <p:grpSpPr>
            <a:xfrm>
              <a:off x="0" y="3992674"/>
              <a:ext cx="1799918" cy="637669"/>
              <a:chOff x="-447266" y="2208645"/>
              <a:chExt cx="2733266" cy="914400"/>
            </a:xfrm>
            <a:solidFill>
              <a:srgbClr val="5B9BD5">
                <a:lumMod val="75000"/>
              </a:srgbClr>
            </a:solidFill>
          </p:grpSpPr>
          <p:sp>
            <p:nvSpPr>
              <p:cNvPr id="13" name="Hexagon 186">
                <a:extLst>
                  <a:ext uri="{FF2B5EF4-FFF2-40B4-BE49-F238E27FC236}">
                    <a16:creationId xmlns:a16="http://schemas.microsoft.com/office/drawing/2014/main" id="{C54AB371-BAD4-AA62-258F-483066582B29}"/>
                  </a:ext>
                </a:extLst>
              </p:cNvPr>
              <p:cNvSpPr/>
              <p:nvPr/>
            </p:nvSpPr>
            <p:spPr>
              <a:xfrm>
                <a:off x="-447266" y="2208645"/>
                <a:ext cx="2473170" cy="914400"/>
              </a:xfrm>
              <a:prstGeom prst="hexagon">
                <a:avLst/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EP</a:t>
                </a:r>
              </a:p>
            </p:txBody>
          </p:sp>
          <p:sp>
            <p:nvSpPr>
              <p:cNvPr id="14" name="Arrow: Chevron 187">
                <a:extLst>
                  <a:ext uri="{FF2B5EF4-FFF2-40B4-BE49-F238E27FC236}">
                    <a16:creationId xmlns:a16="http://schemas.microsoft.com/office/drawing/2014/main" id="{2B9601C7-CD45-A530-4980-F21132412DA9}"/>
                  </a:ext>
                </a:extLst>
              </p:cNvPr>
              <p:cNvSpPr/>
              <p:nvPr/>
            </p:nvSpPr>
            <p:spPr>
              <a:xfrm>
                <a:off x="1870202" y="2208645"/>
                <a:ext cx="415798" cy="900148"/>
              </a:xfrm>
              <a:prstGeom prst="chevron">
                <a:avLst>
                  <a:gd name="adj" fmla="val 53448"/>
                </a:avLst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8" name="TextBox 45">
              <a:extLst>
                <a:ext uri="{FF2B5EF4-FFF2-40B4-BE49-F238E27FC236}">
                  <a16:creationId xmlns:a16="http://schemas.microsoft.com/office/drawing/2014/main" id="{1691E2A5-4DE6-AFA3-DA22-9C2F1A92FF2C}"/>
                </a:ext>
              </a:extLst>
            </p:cNvPr>
            <p:cNvSpPr txBox="1"/>
            <p:nvPr/>
          </p:nvSpPr>
          <p:spPr>
            <a:xfrm>
              <a:off x="1959061" y="3989503"/>
              <a:ext cx="8985459" cy="637200"/>
            </a:xfrm>
            <a:prstGeom prst="rect">
              <a:avLst/>
            </a:prstGeom>
            <a:noFill/>
            <a:ln w="12700">
              <a:solidFill>
                <a:srgbClr val="5B9BD5">
                  <a:lumMod val="75000"/>
                </a:srgbClr>
              </a:solidFill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"/>
                </a:rPr>
                <a:t>i</a:t>
              </a:r>
              <a:r>
                <a:rPr kumimoji="0" lang="it-IT" sz="1800" i="0" u="none" strike="noStrike" kern="0" cap="none" spc="0" normalizeH="0" baseline="0" noProof="0" dirty="0" err="1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</a:rPr>
                <a:t>ndica</a:t>
              </a:r>
              <a:r>
                <a:rPr kumimoji="0" lang="it-IT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</a:rPr>
                <a:t> il settore economico-produttivo in cui lo studente diplomato è in grado di  offrire competenze tecnico-professionali</a:t>
              </a:r>
            </a:p>
          </p:txBody>
        </p:sp>
        <p:grpSp>
          <p:nvGrpSpPr>
            <p:cNvPr id="9" name="Group 182">
              <a:extLst>
                <a:ext uri="{FF2B5EF4-FFF2-40B4-BE49-F238E27FC236}">
                  <a16:creationId xmlns:a16="http://schemas.microsoft.com/office/drawing/2014/main" id="{9F2D4065-95E6-212E-0EE2-E067C58AC9DB}"/>
                </a:ext>
              </a:extLst>
            </p:cNvPr>
            <p:cNvGrpSpPr/>
            <p:nvPr/>
          </p:nvGrpSpPr>
          <p:grpSpPr>
            <a:xfrm>
              <a:off x="0" y="4680237"/>
              <a:ext cx="1799918" cy="637669"/>
              <a:chOff x="-447266" y="2208645"/>
              <a:chExt cx="2733266" cy="914400"/>
            </a:xfrm>
            <a:solidFill>
              <a:srgbClr val="5B9BD5">
                <a:lumMod val="75000"/>
              </a:srgbClr>
            </a:solidFill>
          </p:grpSpPr>
          <p:sp>
            <p:nvSpPr>
              <p:cNvPr id="11" name="Hexagon 184">
                <a:extLst>
                  <a:ext uri="{FF2B5EF4-FFF2-40B4-BE49-F238E27FC236}">
                    <a16:creationId xmlns:a16="http://schemas.microsoft.com/office/drawing/2014/main" id="{73CA55B2-D13A-7CE0-5F57-21B663F98B86}"/>
                  </a:ext>
                </a:extLst>
              </p:cNvPr>
              <p:cNvSpPr/>
              <p:nvPr/>
            </p:nvSpPr>
            <p:spPr>
              <a:xfrm>
                <a:off x="-447266" y="2208645"/>
                <a:ext cx="2473170" cy="914400"/>
              </a:xfrm>
              <a:prstGeom prst="hexagon">
                <a:avLst/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UP</a:t>
                </a:r>
              </a:p>
            </p:txBody>
          </p:sp>
          <p:sp>
            <p:nvSpPr>
              <p:cNvPr id="12" name="Arrow: Chevron 185">
                <a:extLst>
                  <a:ext uri="{FF2B5EF4-FFF2-40B4-BE49-F238E27FC236}">
                    <a16:creationId xmlns:a16="http://schemas.microsoft.com/office/drawing/2014/main" id="{67B2CFEA-F7FC-E75C-8207-BE3F989D7CF6}"/>
                  </a:ext>
                </a:extLst>
              </p:cNvPr>
              <p:cNvSpPr/>
              <p:nvPr/>
            </p:nvSpPr>
            <p:spPr>
              <a:xfrm>
                <a:off x="1870202" y="2208645"/>
                <a:ext cx="415798" cy="900148"/>
              </a:xfrm>
              <a:prstGeom prst="chevron">
                <a:avLst>
                  <a:gd name="adj" fmla="val 53448"/>
                </a:avLst>
              </a:prstGeom>
              <a:grpFill/>
              <a:ln w="12700">
                <a:solidFill>
                  <a:srgbClr val="5B9BD5">
                    <a:lumMod val="75000"/>
                  </a:srgbClr>
                </a:solidFill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0" name="TextBox 45">
              <a:extLst>
                <a:ext uri="{FF2B5EF4-FFF2-40B4-BE49-F238E27FC236}">
                  <a16:creationId xmlns:a16="http://schemas.microsoft.com/office/drawing/2014/main" id="{811529D9-1704-0C24-BB4C-2516515A1C05}"/>
                </a:ext>
              </a:extLst>
            </p:cNvPr>
            <p:cNvSpPr txBox="1"/>
            <p:nvPr/>
          </p:nvSpPr>
          <p:spPr>
            <a:xfrm>
              <a:off x="1959061" y="4673894"/>
              <a:ext cx="8985459" cy="637200"/>
            </a:xfrm>
            <a:prstGeom prst="rect">
              <a:avLst/>
            </a:prstGeom>
            <a:noFill/>
            <a:ln w="12700">
              <a:solidFill>
                <a:srgbClr val="5B9BD5">
                  <a:lumMod val="75000"/>
                </a:srgbClr>
              </a:solidFill>
            </a:ln>
          </p:spPr>
          <p:txBody>
            <a:bodyPr wrap="square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it-IT" kern="0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"/>
                </a:rPr>
                <a:t>indica</a:t>
              </a:r>
              <a:r>
                <a:rPr kumimoji="0" lang="it-IT" sz="1800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"/>
                </a:rPr>
                <a:t> la Nomenclatura e Classificazione delle Unità Professionali e rappresenta la figura professionale in uscita dal percorso di studi</a:t>
              </a:r>
              <a:endParaRPr kumimoji="0" lang="it-IT" sz="180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58390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66559B70-8E46-D2B3-BD67-3A87060BB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Gestione dei codici nel SIDI</a:t>
            </a:r>
          </a:p>
        </p:txBody>
      </p:sp>
      <p:sp>
        <p:nvSpPr>
          <p:cNvPr id="3" name="Rettangolo 9">
            <a:extLst>
              <a:ext uri="{FF2B5EF4-FFF2-40B4-BE49-F238E27FC236}">
                <a16:creationId xmlns:a16="http://schemas.microsoft.com/office/drawing/2014/main" id="{D07592CA-5CA4-CB88-33BF-53C3102A7F49}"/>
              </a:ext>
            </a:extLst>
          </p:cNvPr>
          <p:cNvSpPr/>
          <p:nvPr/>
        </p:nvSpPr>
        <p:spPr>
          <a:xfrm>
            <a:off x="241215" y="1772816"/>
            <a:ext cx="342223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Aft>
                <a:spcPts val="400"/>
              </a:spcAft>
            </a:pP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i Istituti professionali devono caratterizzare i quadri orario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Times New Roman" panose="02020603050405020304" pitchFamily="18" charset="0"/>
              </a:rPr>
              <a:t>non solo con il codice ATECO ma anche con le eventuali codifiche SEP e NUP affinché i codici siano riportati nel Curriculum dello studente</a:t>
            </a:r>
            <a:endParaRPr lang="it-IT" sz="2000" dirty="0"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E18AC00B-A05B-B869-15C8-D3560D6965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88884" y="1124744"/>
            <a:ext cx="8106332" cy="544088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" name="Ovale 4">
            <a:extLst>
              <a:ext uri="{FF2B5EF4-FFF2-40B4-BE49-F238E27FC236}">
                <a16:creationId xmlns:a16="http://schemas.microsoft.com/office/drawing/2014/main" id="{F1C3EF2C-BDB2-73CE-51FB-71D848D7EC18}"/>
              </a:ext>
            </a:extLst>
          </p:cNvPr>
          <p:cNvSpPr/>
          <p:nvPr/>
        </p:nvSpPr>
        <p:spPr>
          <a:xfrm>
            <a:off x="3791744" y="3068960"/>
            <a:ext cx="792088" cy="504056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Ovale 5">
            <a:extLst>
              <a:ext uri="{FF2B5EF4-FFF2-40B4-BE49-F238E27FC236}">
                <a16:creationId xmlns:a16="http://schemas.microsoft.com/office/drawing/2014/main" id="{13CEDD6F-50A7-C217-7B18-7ABB302C1819}"/>
              </a:ext>
            </a:extLst>
          </p:cNvPr>
          <p:cNvSpPr/>
          <p:nvPr/>
        </p:nvSpPr>
        <p:spPr>
          <a:xfrm>
            <a:off x="3791744" y="3855459"/>
            <a:ext cx="792088" cy="504056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95F2949A-BC2A-DBF8-13A5-3065022B6E73}"/>
              </a:ext>
            </a:extLst>
          </p:cNvPr>
          <p:cNvSpPr/>
          <p:nvPr/>
        </p:nvSpPr>
        <p:spPr>
          <a:xfrm>
            <a:off x="3760589" y="2421199"/>
            <a:ext cx="792088" cy="504056"/>
          </a:xfrm>
          <a:prstGeom prst="ellipse">
            <a:avLst/>
          </a:prstGeom>
          <a:noFill/>
          <a:ln w="38100"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29188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90E1EB3-4455-EBFE-5A92-CB34D6B284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23592" y="174000"/>
            <a:ext cx="7848872" cy="720080"/>
          </a:xfrm>
        </p:spPr>
        <p:txBody>
          <a:bodyPr>
            <a:normAutofit/>
          </a:bodyPr>
          <a:lstStyle/>
          <a:p>
            <a:r>
              <a:rPr kumimoji="0" lang="it-IT" sz="2500" b="1" i="0" u="none" strike="noStrike" kern="1200" cap="none" spc="0" normalizeH="0" baseline="0" noProof="0" dirty="0">
                <a:ln>
                  <a:noFill/>
                </a:ln>
                <a:solidFill>
                  <a:srgbClr val="009A44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urriculum dello studente e nuovi professionali</a:t>
            </a:r>
            <a:endParaRPr lang="it-IT" dirty="0"/>
          </a:p>
        </p:txBody>
      </p:sp>
      <p:sp>
        <p:nvSpPr>
          <p:cNvPr id="3" name="Rettangolo 9">
            <a:extLst>
              <a:ext uri="{FF2B5EF4-FFF2-40B4-BE49-F238E27FC236}">
                <a16:creationId xmlns:a16="http://schemas.microsoft.com/office/drawing/2014/main" id="{F59A1BC3-8312-B2F5-AD71-6D1A7A55AB5A}"/>
              </a:ext>
            </a:extLst>
          </p:cNvPr>
          <p:cNvSpPr/>
          <p:nvPr/>
        </p:nvSpPr>
        <p:spPr>
          <a:xfrm>
            <a:off x="600075" y="1018594"/>
            <a:ext cx="1099185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ctr"/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All’interno della sezione «</a:t>
            </a:r>
            <a:r>
              <a:rPr lang="it-IT" sz="2000" b="1" dirty="0">
                <a:latin typeface="Arial" panose="020B0604020202020204" pitchFamily="34" charset="0"/>
                <a:cs typeface="Arial" panose="020B0604020202020204" pitchFamily="34" charset="0"/>
              </a:rPr>
              <a:t>Percorso di studi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», verranno inserite le diciture «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ice ATECO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», «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ice SEP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» e «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dice NUP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» con l’indicazione di un codice alfanumerico e la relativa descrizione (es. </a:t>
            </a:r>
            <a:r>
              <a:rPr lang="it-IT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it-IT" sz="200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90</a:t>
            </a:r>
            <a:r>
              <a:rPr lang="it-IT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2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it-IT" sz="2000" i="0" u="none" strike="noStrike" kern="1200" dirty="0">
                <a:solidFill>
                  <a:srgbClr val="00000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tività creative, artistiche e di intrattenimento).</a:t>
            </a:r>
            <a:endParaRPr lang="it-IT" sz="2000" i="0" u="none" strike="noStrike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5">
            <a:extLst>
              <a:ext uri="{FF2B5EF4-FFF2-40B4-BE49-F238E27FC236}">
                <a16:creationId xmlns:a16="http://schemas.microsoft.com/office/drawing/2014/main" id="{5112D258-C7F8-89E3-7E60-EAE38B43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3632" y="2133915"/>
            <a:ext cx="6264696" cy="371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8353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FBD78440-ADA3-673B-BAA2-7C8BE2DC13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91544" y="174000"/>
            <a:ext cx="8208912" cy="720080"/>
          </a:xfrm>
        </p:spPr>
        <p:txBody>
          <a:bodyPr>
            <a:normAutofit fontScale="90000"/>
          </a:bodyPr>
          <a:lstStyle/>
          <a:p>
            <a:r>
              <a:rPr lang="it-IT" dirty="0"/>
              <a:t>Curriculum dello studente e nuovi professionali</a:t>
            </a:r>
          </a:p>
        </p:txBody>
      </p:sp>
      <p:sp>
        <p:nvSpPr>
          <p:cNvPr id="17" name="TextBox 6">
            <a:extLst>
              <a:ext uri="{FF2B5EF4-FFF2-40B4-BE49-F238E27FC236}">
                <a16:creationId xmlns:a16="http://schemas.microsoft.com/office/drawing/2014/main" id="{2ED767B9-5F7E-D684-CFFE-62DB4E6A7FD0}"/>
              </a:ext>
            </a:extLst>
          </p:cNvPr>
          <p:cNvSpPr txBox="1"/>
          <p:nvPr/>
        </p:nvSpPr>
        <p:spPr>
          <a:xfrm>
            <a:off x="335360" y="987488"/>
            <a:ext cx="115212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defTabSz="914400"/>
            <a:r>
              <a:rPr lang="it-IT" sz="2000" dirty="0">
                <a:solidFill>
                  <a:prstClr val="black"/>
                </a:solidFill>
                <a:latin typeface="Arial"/>
              </a:rPr>
              <a:t>Nel Curriculum dello Studente,  verranno declinate </a:t>
            </a:r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ogni indirizzo</a:t>
            </a:r>
          </a:p>
        </p:txBody>
      </p:sp>
      <p:grpSp>
        <p:nvGrpSpPr>
          <p:cNvPr id="18" name="Group 21">
            <a:extLst>
              <a:ext uri="{FF2B5EF4-FFF2-40B4-BE49-F238E27FC236}">
                <a16:creationId xmlns:a16="http://schemas.microsoft.com/office/drawing/2014/main" id="{E895B890-6D28-A225-7CDA-B89D0D6F4801}"/>
              </a:ext>
            </a:extLst>
          </p:cNvPr>
          <p:cNvGrpSpPr/>
          <p:nvPr/>
        </p:nvGrpSpPr>
        <p:grpSpPr>
          <a:xfrm>
            <a:off x="263352" y="1938429"/>
            <a:ext cx="3240360" cy="400110"/>
            <a:chOff x="926904" y="4014624"/>
            <a:chExt cx="8259862" cy="400110"/>
          </a:xfrm>
        </p:grpSpPr>
        <p:grpSp>
          <p:nvGrpSpPr>
            <p:cNvPr id="19" name="Group 19">
              <a:extLst>
                <a:ext uri="{FF2B5EF4-FFF2-40B4-BE49-F238E27FC236}">
                  <a16:creationId xmlns:a16="http://schemas.microsoft.com/office/drawing/2014/main" id="{AFAAD503-9A41-41E4-514C-52E5130D4D3E}"/>
                </a:ext>
              </a:extLst>
            </p:cNvPr>
            <p:cNvGrpSpPr/>
            <p:nvPr/>
          </p:nvGrpSpPr>
          <p:grpSpPr>
            <a:xfrm>
              <a:off x="926904" y="4029982"/>
              <a:ext cx="647337" cy="369394"/>
              <a:chOff x="926904" y="4029982"/>
              <a:chExt cx="647337" cy="369394"/>
            </a:xfrm>
          </p:grpSpPr>
          <p:sp>
            <p:nvSpPr>
              <p:cNvPr id="21" name="object 36">
                <a:extLst>
                  <a:ext uri="{FF2B5EF4-FFF2-40B4-BE49-F238E27FC236}">
                    <a16:creationId xmlns:a16="http://schemas.microsoft.com/office/drawing/2014/main" id="{EFDC1374-DC50-36DD-099E-5A3DD377C591}"/>
                  </a:ext>
                </a:extLst>
              </p:cNvPr>
              <p:cNvSpPr/>
              <p:nvPr/>
            </p:nvSpPr>
            <p:spPr>
              <a:xfrm>
                <a:off x="926904" y="4029982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40000"/>
                  <a:lumOff val="6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2" name="object 37">
                <a:extLst>
                  <a:ext uri="{FF2B5EF4-FFF2-40B4-BE49-F238E27FC236}">
                    <a16:creationId xmlns:a16="http://schemas.microsoft.com/office/drawing/2014/main" id="{DA02504E-5475-3FA5-5CEA-7F88F3551200}"/>
                  </a:ext>
                </a:extLst>
              </p:cNvPr>
              <p:cNvSpPr/>
              <p:nvPr/>
            </p:nvSpPr>
            <p:spPr>
              <a:xfrm>
                <a:off x="1117618" y="4029982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60000"/>
                  <a:lumOff val="4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3" name="object 38">
                <a:extLst>
                  <a:ext uri="{FF2B5EF4-FFF2-40B4-BE49-F238E27FC236}">
                    <a16:creationId xmlns:a16="http://schemas.microsoft.com/office/drawing/2014/main" id="{7C1D2882-FEA8-85F3-0F63-00BF3A35A4EB}"/>
                  </a:ext>
                </a:extLst>
              </p:cNvPr>
              <p:cNvSpPr/>
              <p:nvPr/>
            </p:nvSpPr>
            <p:spPr>
              <a:xfrm>
                <a:off x="1301793" y="4029982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75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20" name="TextBox 77">
              <a:extLst>
                <a:ext uri="{FF2B5EF4-FFF2-40B4-BE49-F238E27FC236}">
                  <a16:creationId xmlns:a16="http://schemas.microsoft.com/office/drawing/2014/main" id="{F62D4440-5372-4422-17DB-66D7A0CFCF82}"/>
                </a:ext>
              </a:extLst>
            </p:cNvPr>
            <p:cNvSpPr txBox="1"/>
            <p:nvPr/>
          </p:nvSpPr>
          <p:spPr>
            <a:xfrm>
              <a:off x="1769966" y="4014624"/>
              <a:ext cx="7416800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Times New Roman" panose="02020603050405020304" pitchFamily="18" charset="0"/>
                </a:rPr>
                <a:t>Competenze generali</a:t>
              </a:r>
            </a:p>
          </p:txBody>
        </p:sp>
      </p:grpSp>
      <p:grpSp>
        <p:nvGrpSpPr>
          <p:cNvPr id="24" name="Group 22">
            <a:extLst>
              <a:ext uri="{FF2B5EF4-FFF2-40B4-BE49-F238E27FC236}">
                <a16:creationId xmlns:a16="http://schemas.microsoft.com/office/drawing/2014/main" id="{67442713-6AB1-8AC3-98AA-F1E28D916719}"/>
              </a:ext>
            </a:extLst>
          </p:cNvPr>
          <p:cNvGrpSpPr/>
          <p:nvPr/>
        </p:nvGrpSpPr>
        <p:grpSpPr>
          <a:xfrm>
            <a:off x="263352" y="3861048"/>
            <a:ext cx="3672408" cy="707886"/>
            <a:chOff x="926904" y="4928802"/>
            <a:chExt cx="8888131" cy="707886"/>
          </a:xfrm>
        </p:grpSpPr>
        <p:grpSp>
          <p:nvGrpSpPr>
            <p:cNvPr id="25" name="Group 20">
              <a:extLst>
                <a:ext uri="{FF2B5EF4-FFF2-40B4-BE49-F238E27FC236}">
                  <a16:creationId xmlns:a16="http://schemas.microsoft.com/office/drawing/2014/main" id="{8CAC9F2B-CC97-4808-73AD-7FAC567BAF1E}"/>
                </a:ext>
              </a:extLst>
            </p:cNvPr>
            <p:cNvGrpSpPr/>
            <p:nvPr/>
          </p:nvGrpSpPr>
          <p:grpSpPr>
            <a:xfrm>
              <a:off x="926904" y="4944160"/>
              <a:ext cx="647337" cy="369394"/>
              <a:chOff x="926904" y="4944160"/>
              <a:chExt cx="647337" cy="369394"/>
            </a:xfrm>
          </p:grpSpPr>
          <p:sp>
            <p:nvSpPr>
              <p:cNvPr id="27" name="object 36">
                <a:extLst>
                  <a:ext uri="{FF2B5EF4-FFF2-40B4-BE49-F238E27FC236}">
                    <a16:creationId xmlns:a16="http://schemas.microsoft.com/office/drawing/2014/main" id="{D85E5775-7CBA-A0C6-2B51-B3ED1C36DDC6}"/>
                  </a:ext>
                </a:extLst>
              </p:cNvPr>
              <p:cNvSpPr/>
              <p:nvPr/>
            </p:nvSpPr>
            <p:spPr>
              <a:xfrm>
                <a:off x="926904" y="4944160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40000"/>
                  <a:lumOff val="6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8" name="object 37">
                <a:extLst>
                  <a:ext uri="{FF2B5EF4-FFF2-40B4-BE49-F238E27FC236}">
                    <a16:creationId xmlns:a16="http://schemas.microsoft.com/office/drawing/2014/main" id="{99CD1C5A-D507-0A20-C7A4-95C41E0E674C}"/>
                  </a:ext>
                </a:extLst>
              </p:cNvPr>
              <p:cNvSpPr/>
              <p:nvPr/>
            </p:nvSpPr>
            <p:spPr>
              <a:xfrm>
                <a:off x="1117618" y="4944160"/>
                <a:ext cx="272447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60000"/>
                  <a:lumOff val="40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9" name="object 38">
                <a:extLst>
                  <a:ext uri="{FF2B5EF4-FFF2-40B4-BE49-F238E27FC236}">
                    <a16:creationId xmlns:a16="http://schemas.microsoft.com/office/drawing/2014/main" id="{0E56EA36-F24F-7B60-90BC-0FAE9D1E01C3}"/>
                  </a:ext>
                </a:extLst>
              </p:cNvPr>
              <p:cNvSpPr/>
              <p:nvPr/>
            </p:nvSpPr>
            <p:spPr>
              <a:xfrm>
                <a:off x="1301793" y="4944160"/>
                <a:ext cx="272448" cy="369394"/>
              </a:xfrm>
              <a:custGeom>
                <a:avLst/>
                <a:gdLst/>
                <a:ahLst/>
                <a:cxnLst/>
                <a:rect l="l" t="t" r="r" b="b"/>
                <a:pathLst>
                  <a:path w="381000" h="601979">
                    <a:moveTo>
                      <a:pt x="190500" y="0"/>
                    </a:moveTo>
                    <a:lnTo>
                      <a:pt x="0" y="0"/>
                    </a:lnTo>
                    <a:lnTo>
                      <a:pt x="190500" y="300990"/>
                    </a:lnTo>
                    <a:lnTo>
                      <a:pt x="0" y="601980"/>
                    </a:lnTo>
                    <a:lnTo>
                      <a:pt x="190500" y="601980"/>
                    </a:lnTo>
                    <a:lnTo>
                      <a:pt x="381000" y="300990"/>
                    </a:lnTo>
                    <a:lnTo>
                      <a:pt x="190500" y="0"/>
                    </a:lnTo>
                    <a:close/>
                  </a:path>
                </a:pathLst>
              </a:custGeom>
              <a:solidFill>
                <a:srgbClr val="5B9BD5">
                  <a:lumMod val="75000"/>
                </a:srgbClr>
              </a:solidFill>
            </p:spPr>
            <p:txBody>
              <a:bodyPr wrap="square" lIns="0" tIns="0" rIns="0" bIns="0" rtlCol="0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26" name="TextBox 77">
              <a:extLst>
                <a:ext uri="{FF2B5EF4-FFF2-40B4-BE49-F238E27FC236}">
                  <a16:creationId xmlns:a16="http://schemas.microsoft.com/office/drawing/2014/main" id="{13F1374E-454F-5BF7-BEFA-B295B663C8DB}"/>
                </a:ext>
              </a:extLst>
            </p:cNvPr>
            <p:cNvSpPr txBox="1"/>
            <p:nvPr/>
          </p:nvSpPr>
          <p:spPr>
            <a:xfrm>
              <a:off x="1748914" y="4928802"/>
              <a:ext cx="8066121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Times New Roman" panose="02020603050405020304" pitchFamily="18" charset="0"/>
                  <a:cs typeface="Times New Roman" panose="02020603050405020304" pitchFamily="18" charset="0"/>
                </a:rPr>
                <a:t>Competenze personalizzate a fine percorso</a:t>
              </a:r>
            </a:p>
          </p:txBody>
        </p:sp>
      </p:grpSp>
      <p:pic>
        <p:nvPicPr>
          <p:cNvPr id="30" name="Picture 8">
            <a:extLst>
              <a:ext uri="{FF2B5EF4-FFF2-40B4-BE49-F238E27FC236}">
                <a16:creationId xmlns:a16="http://schemas.microsoft.com/office/drawing/2014/main" id="{FDFC9C9B-D340-038B-7800-EA8A8790E1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07932" y="1387598"/>
            <a:ext cx="6278466" cy="2257426"/>
          </a:xfrm>
          <a:prstGeom prst="rect">
            <a:avLst/>
          </a:prstGeom>
        </p:spPr>
      </p:pic>
      <p:pic>
        <p:nvPicPr>
          <p:cNvPr id="31" name="Picture 5">
            <a:extLst>
              <a:ext uri="{FF2B5EF4-FFF2-40B4-BE49-F238E27FC236}">
                <a16:creationId xmlns:a16="http://schemas.microsoft.com/office/drawing/2014/main" id="{A0FD1632-7FB9-D118-2D18-37012CED9B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932" y="3717032"/>
            <a:ext cx="6264532" cy="285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0342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B5B51541-E83B-4254-9DF1-A986F141D015}"/>
              </a:ext>
            </a:extLst>
          </p:cNvPr>
          <p:cNvSpPr txBox="1"/>
          <p:nvPr/>
        </p:nvSpPr>
        <p:spPr>
          <a:xfrm>
            <a:off x="407368" y="188640"/>
            <a:ext cx="113052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it-IT" sz="3600" b="1" dirty="0">
                <a:solidFill>
                  <a:srgbClr val="009A44"/>
                </a:solidFill>
                <a:latin typeface="Arial" pitchFamily="34" charset="0"/>
                <a:cs typeface="Arial" pitchFamily="34" charset="0"/>
              </a:rPr>
              <a:t>Alcuni dati – studenti abilitati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9B1C26F2-CC39-2682-E283-A4BEBB75BF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368" y="854815"/>
            <a:ext cx="11449272" cy="5270628"/>
          </a:xfrm>
          <a:prstGeom prst="rect">
            <a:avLst/>
          </a:prstGeom>
        </p:spPr>
      </p:pic>
      <p:pic>
        <p:nvPicPr>
          <p:cNvPr id="5" name="Picture 31">
            <a:extLst>
              <a:ext uri="{FF2B5EF4-FFF2-40B4-BE49-F238E27FC236}">
                <a16:creationId xmlns:a16="http://schemas.microsoft.com/office/drawing/2014/main" id="{5A86A917-605A-D88F-8842-84FA8AB987FF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830707">
            <a:off x="2663647" y="4877490"/>
            <a:ext cx="1387034" cy="171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023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B5B51541-E83B-4254-9DF1-A986F141D015}"/>
              </a:ext>
            </a:extLst>
          </p:cNvPr>
          <p:cNvSpPr txBox="1"/>
          <p:nvPr/>
        </p:nvSpPr>
        <p:spPr>
          <a:xfrm>
            <a:off x="407368" y="188640"/>
            <a:ext cx="113052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3603">
              <a:spcAft>
                <a:spcPts val="533"/>
              </a:spcAft>
              <a:buSzPct val="100000"/>
            </a:pPr>
            <a:r>
              <a:rPr lang="it-IT" sz="3200" b="1" dirty="0">
                <a:solidFill>
                  <a:srgbClr val="009A44"/>
                </a:solidFill>
                <a:latin typeface="Arial" pitchFamily="34" charset="0"/>
                <a:cs typeface="Arial" pitchFamily="34" charset="0"/>
              </a:rPr>
              <a:t>Istituti che non hanno svolto alcuna abilitazione</a:t>
            </a: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6ACB7EFD-0C02-4F32-CA00-70B174FB9F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3392" y="980728"/>
            <a:ext cx="11089232" cy="4896544"/>
          </a:xfrm>
          <a:prstGeom prst="rect">
            <a:avLst/>
          </a:prstGeom>
        </p:spPr>
      </p:pic>
      <p:pic>
        <p:nvPicPr>
          <p:cNvPr id="8" name="Picture 31">
            <a:extLst>
              <a:ext uri="{FF2B5EF4-FFF2-40B4-BE49-F238E27FC236}">
                <a16:creationId xmlns:a16="http://schemas.microsoft.com/office/drawing/2014/main" id="{5C444BEB-A69F-9633-133C-A28DB91DD96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077487">
            <a:off x="802793" y="453650"/>
            <a:ext cx="1387034" cy="1710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6772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sellaDiTesto 1">
            <a:extLst>
              <a:ext uri="{FF2B5EF4-FFF2-40B4-BE49-F238E27FC236}">
                <a16:creationId xmlns:a16="http://schemas.microsoft.com/office/drawing/2014/main" id="{399F61EC-7F49-4F3C-A1D5-043E422C1026}"/>
              </a:ext>
            </a:extLst>
          </p:cNvPr>
          <p:cNvSpPr txBox="1"/>
          <p:nvPr/>
        </p:nvSpPr>
        <p:spPr>
          <a:xfrm>
            <a:off x="1661158" y="2593011"/>
            <a:ext cx="4800533" cy="1354152"/>
          </a:xfrm>
          <a:prstGeom prst="rect">
            <a:avLst/>
          </a:prstGeom>
          <a:noFill/>
        </p:spPr>
        <p:txBody>
          <a:bodyPr wrap="square" lIns="121856" tIns="60928" rIns="121856" bIns="60928" rtlCol="0">
            <a:spAutoFit/>
          </a:bodyPr>
          <a:lstStyle/>
          <a:p>
            <a:pPr algn="ctr" defTabSz="573266">
              <a:spcAft>
                <a:spcPts val="533"/>
              </a:spcAft>
              <a:buSzPct val="100000"/>
            </a:pPr>
            <a:r>
              <a:rPr lang="it-IT" sz="8000" dirty="0">
                <a:solidFill>
                  <a:srgbClr val="005EB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zie</a:t>
            </a:r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F214D8CC-0EEA-4011-AA3C-928AE5FAC5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967922">
            <a:off x="6413669" y="1116739"/>
            <a:ext cx="5582860" cy="4624523"/>
          </a:xfrm>
          <a:prstGeom prst="rect">
            <a:avLst/>
          </a:prstGeom>
        </p:spPr>
      </p:pic>
      <p:sp>
        <p:nvSpPr>
          <p:cNvPr id="4" name="AutoShape 1">
            <a:extLst>
              <a:ext uri="{FF2B5EF4-FFF2-40B4-BE49-F238E27FC236}">
                <a16:creationId xmlns:a16="http://schemas.microsoft.com/office/drawing/2014/main" id="{D4FF4943-B50E-4417-9C3F-17125DE11B9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367809" y="1220543"/>
            <a:ext cx="60959" cy="6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it-IT" sz="2400" dirty="0"/>
          </a:p>
        </p:txBody>
      </p:sp>
      <p:cxnSp>
        <p:nvCxnSpPr>
          <p:cNvPr id="9" name="Straight Connector 7">
            <a:extLst>
              <a:ext uri="{FF2B5EF4-FFF2-40B4-BE49-F238E27FC236}">
                <a16:creationId xmlns:a16="http://schemas.microsoft.com/office/drawing/2014/main" id="{443EECAD-663C-4099-B2A2-8B61AF1C4A3C}"/>
              </a:ext>
            </a:extLst>
          </p:cNvPr>
          <p:cNvCxnSpPr/>
          <p:nvPr/>
        </p:nvCxnSpPr>
        <p:spPr>
          <a:xfrm flipV="1">
            <a:off x="587375" y="6036056"/>
            <a:ext cx="11017250" cy="0"/>
          </a:xfrm>
          <a:prstGeom prst="line">
            <a:avLst/>
          </a:prstGeom>
          <a:ln w="19050">
            <a:solidFill>
              <a:srgbClr val="09893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BF65580-AAD4-461D-B4DB-A329C35B77D8}"/>
              </a:ext>
            </a:extLst>
          </p:cNvPr>
          <p:cNvCxnSpPr/>
          <p:nvPr/>
        </p:nvCxnSpPr>
        <p:spPr>
          <a:xfrm flipV="1">
            <a:off x="587375" y="894080"/>
            <a:ext cx="11017250" cy="0"/>
          </a:xfrm>
          <a:prstGeom prst="line">
            <a:avLst/>
          </a:prstGeom>
          <a:ln w="19050">
            <a:solidFill>
              <a:srgbClr val="0068C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31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575" y="-148376"/>
            <a:ext cx="10254886" cy="1325563"/>
          </a:xfrm>
        </p:spPr>
        <p:txBody>
          <a:bodyPr>
            <a:normAutofit/>
          </a:bodyPr>
          <a:lstStyle/>
          <a:p>
            <a:r>
              <a:rPr lang="it-IT" sz="3200" dirty="0">
                <a:sym typeface="Dosis Light"/>
              </a:rPr>
              <a:t>I riferimenti normativi</a:t>
            </a:r>
            <a:endParaRPr lang="it-IT" sz="32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20343" y="4064712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ecreto ministeriale 6 agosto 2020, n. 88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4587" y="3810631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Adozione del modello del Curriculum dello studente (allegato al decreto). Introduzione del Curriculum a partire </a:t>
            </a:r>
            <a:r>
              <a:rPr lang="it-IT" sz="1400" i="1" dirty="0" err="1"/>
              <a:t>dall’a.s.</a:t>
            </a:r>
            <a:r>
              <a:rPr lang="it-IT" sz="1400" i="1" dirty="0"/>
              <a:t> 2020/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20343" y="2792594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. </a:t>
            </a:r>
            <a:r>
              <a:rPr lang="it-IT" b="1" dirty="0" err="1"/>
              <a:t>lgs</a:t>
            </a:r>
            <a:r>
              <a:rPr lang="it-IT" b="1" dirty="0"/>
              <a:t>. 13 aprile 2017, n. 62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24587" y="2621207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nserimento del Curriculum dello studente come allegato al Diploma dell’esame di Stato</a:t>
            </a:r>
          </a:p>
          <a:p>
            <a:pPr algn="just">
              <a:spcAft>
                <a:spcPts val="600"/>
              </a:spcAft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Al diploma è allegato il curriculum … </a:t>
            </a:r>
            <a:r>
              <a:rPr lang="it-IT" sz="1400" i="1" dirty="0">
                <a:solidFill>
                  <a:prstClr val="black"/>
                </a:solidFill>
                <a:latin typeface="Arial"/>
              </a:rPr>
              <a:t>anche </a:t>
            </a:r>
            <a:r>
              <a:rPr kumimoji="0" lang="it-IT" b="1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i fini dell’orientamento </a:t>
            </a:r>
            <a:r>
              <a:rPr kumimoji="0" lang="it-IT" sz="140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dell’accesso al mondo del lavoro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  <a:endParaRPr lang="it-IT" sz="1400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2220343" y="1520476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Legge 13 luglio 2015, n. 10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24587" y="1266395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stituzione del Curriculum dello studente come strumento che individua il profilo dello studente e ne raccoglie tutti  i  dati  utili,  anche </a:t>
            </a:r>
            <a:r>
              <a:rPr lang="it-IT" sz="1400" b="1" i="1" dirty="0">
                <a:solidFill>
                  <a:srgbClr val="0070C0"/>
                </a:solidFill>
              </a:rPr>
              <a:t> </a:t>
            </a:r>
            <a:r>
              <a:rPr lang="it-IT" b="1" i="1" dirty="0">
                <a:solidFill>
                  <a:srgbClr val="0070C0"/>
                </a:solidFill>
              </a:rPr>
              <a:t>ai  fini dell’orientamento </a:t>
            </a:r>
            <a:r>
              <a:rPr lang="it-IT" sz="1400" i="1" dirty="0"/>
              <a:t>e dell’accesso al mondo del lavoro. Prevista inoltre l’associazione a un’identità digitale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3900631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2628513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7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FF8876E-4029-44DD-AF74-32D146493D8C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45775" y="2323541"/>
            <a:ext cx="144000" cy="297666"/>
            <a:chOff x="1045775" y="2323541"/>
            <a:chExt cx="144000" cy="297666"/>
          </a:xfrm>
        </p:grpSpPr>
        <p:sp>
          <p:nvSpPr>
            <p:cNvPr id="10" name="Oval 9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45775" y="3601271"/>
            <a:ext cx="144000" cy="297666"/>
            <a:chOff x="1045775" y="2323541"/>
            <a:chExt cx="144000" cy="297666"/>
          </a:xfrm>
        </p:grpSpPr>
        <p:sp>
          <p:nvSpPr>
            <p:cNvPr id="59" name="Oval 58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extBox 25">
            <a:extLst>
              <a:ext uri="{FF2B5EF4-FFF2-40B4-BE49-F238E27FC236}">
                <a16:creationId xmlns:a16="http://schemas.microsoft.com/office/drawing/2014/main" id="{F5339A40-F330-0AEB-8693-69A285FE31B3}"/>
              </a:ext>
            </a:extLst>
          </p:cNvPr>
          <p:cNvSpPr txBox="1">
            <a:spLocks/>
          </p:cNvSpPr>
          <p:nvPr/>
        </p:nvSpPr>
        <p:spPr>
          <a:xfrm>
            <a:off x="3968180" y="5085184"/>
            <a:ext cx="7844306" cy="71913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>
            <a:lvl1pPr algn="ctr" defTabSz="609421" rtl="0" eaLnBrk="0" fontAlgn="base" hangingPunct="0">
              <a:spcBef>
                <a:spcPct val="0"/>
              </a:spcBef>
              <a:spcAft>
                <a:spcPct val="0"/>
              </a:spcAft>
              <a:defRPr lang="en-US" sz="2800" b="1" kern="1200" dirty="0">
                <a:solidFill>
                  <a:srgbClr val="009A44"/>
                </a:solidFill>
                <a:latin typeface="Arial" pitchFamily="34" charset="0"/>
                <a:ea typeface="HP Simplified"/>
                <a:cs typeface="Arial" pitchFamily="34" charset="0"/>
              </a:defRPr>
            </a:lvl1pPr>
            <a:lvl2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2pPr>
            <a:lvl3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3pPr>
            <a:lvl4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4pPr>
            <a:lvl5pPr algn="l" defTabSz="609421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5pPr>
            <a:lvl6pPr marL="609421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6pPr>
            <a:lvl7pPr marL="1218847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7pPr>
            <a:lvl8pPr marL="1828269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8pPr>
            <a:lvl9pPr marL="2437693" algn="l" defTabSz="609421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HP Simplified"/>
                <a:ea typeface="HP Simplified"/>
                <a:cs typeface="HP Simplified"/>
              </a:defRPr>
            </a:lvl9pPr>
          </a:lstStyle>
          <a:p>
            <a:pPr algn="l">
              <a:spcAft>
                <a:spcPts val="600"/>
              </a:spcAft>
            </a:pPr>
            <a:r>
              <a:rPr lang="it-IT" sz="2000" dirty="0">
                <a:solidFill>
                  <a:srgbClr val="0070C0"/>
                </a:solidFill>
              </a:rPr>
              <a:t>Decreto ministeriale 22 dicembre 2022, n. 328 </a:t>
            </a:r>
            <a:br>
              <a:rPr lang="it-IT" sz="2000" dirty="0">
                <a:solidFill>
                  <a:srgbClr val="0070C0"/>
                </a:solidFill>
              </a:rPr>
            </a:br>
            <a:r>
              <a:rPr lang="it-IT" sz="2000" dirty="0">
                <a:solidFill>
                  <a:srgbClr val="0070C0"/>
                </a:solidFill>
              </a:rPr>
              <a:t>Linee guida per l’orientamento</a:t>
            </a:r>
          </a:p>
        </p:txBody>
      </p:sp>
      <p:sp>
        <p:nvSpPr>
          <p:cNvPr id="7" name="Freccia angolare bidirezionale 6">
            <a:extLst>
              <a:ext uri="{FF2B5EF4-FFF2-40B4-BE49-F238E27FC236}">
                <a16:creationId xmlns:a16="http://schemas.microsoft.com/office/drawing/2014/main" id="{12D3669F-99F1-C571-5460-B9D934A39F05}"/>
              </a:ext>
            </a:extLst>
          </p:cNvPr>
          <p:cNvSpPr/>
          <p:nvPr/>
        </p:nvSpPr>
        <p:spPr>
          <a:xfrm rot="5400000">
            <a:off x="1976302" y="3807753"/>
            <a:ext cx="719140" cy="2848896"/>
          </a:xfrm>
          <a:prstGeom prst="leftUpArrow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70C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38960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5">
            <a:extLst>
              <a:ext uri="{FF2B5EF4-FFF2-40B4-BE49-F238E27FC236}">
                <a16:creationId xmlns:a16="http://schemas.microsoft.com/office/drawing/2014/main" id="{8C81BEAF-22AE-95F4-E8CB-F07D9FFF478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23392" y="174625"/>
            <a:ext cx="11017224" cy="719138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2400" dirty="0"/>
              <a:t>Decreto ministeriale 22 dicembre 2022, n. 328 </a:t>
            </a:r>
            <a:br>
              <a:rPr lang="it-IT" sz="2400" dirty="0"/>
            </a:br>
            <a:r>
              <a:rPr lang="it-IT" sz="2400" dirty="0"/>
              <a:t>Linee guida per l’orientamento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ECAE8AFF-6108-81F6-00C7-0A4DC4618EFF}"/>
              </a:ext>
            </a:extLst>
          </p:cNvPr>
          <p:cNvSpPr txBox="1"/>
          <p:nvPr/>
        </p:nvSpPr>
        <p:spPr>
          <a:xfrm>
            <a:off x="623392" y="1197620"/>
            <a:ext cx="10873208" cy="44627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2400" b="1" dirty="0">
                <a:solidFill>
                  <a:srgbClr val="0070C0"/>
                </a:solidFill>
              </a:rPr>
              <a:t>9. Consiglio di orientamento, curriculum dello studente ed E-Portfolio </a:t>
            </a:r>
          </a:p>
          <a:p>
            <a:pPr algn="just"/>
            <a:endParaRPr lang="it-IT" sz="2000" dirty="0"/>
          </a:p>
          <a:p>
            <a:pPr algn="just"/>
            <a:r>
              <a:rPr lang="it-IT" sz="2000" dirty="0"/>
              <a:t>9.2 Nella scuola secondaria di secondo grado, invece, a partire dall’anno scolastico 2020/2021, al diploma finale rilasciato in esito al superamento dell’esame di Stato conclusivo del secondo ciclo di istruzione, viene allegato il “</a:t>
            </a:r>
            <a:r>
              <a:rPr lang="it-IT" sz="2000" b="1" dirty="0">
                <a:solidFill>
                  <a:srgbClr val="0070C0"/>
                </a:solidFill>
              </a:rPr>
              <a:t>Curriculum della studentessa e dello studente</a:t>
            </a:r>
            <a:r>
              <a:rPr lang="it-IT" sz="2000" dirty="0"/>
              <a:t>”, in cui sono indicate le competenze, le conoscenze e le abilità anche professionali acquisite e le attività culturali, artistiche, musicali, sportive e di volontariato, svolte in ambito extra scolastico, nonché in quello dei percorsi per le competenze trasversali e l’orientamento (PCTO) ed altre eventuali certificazioni conseguite, ai fini dell’orientamento e dell'accesso al mondo del lavoro. </a:t>
            </a:r>
          </a:p>
          <a:p>
            <a:pPr algn="just"/>
            <a:endParaRPr lang="it-IT" sz="2000" dirty="0"/>
          </a:p>
          <a:p>
            <a:pPr algn="just"/>
            <a:r>
              <a:rPr lang="it-IT" sz="2000" dirty="0"/>
              <a:t>9.3 </a:t>
            </a:r>
            <a:r>
              <a:rPr lang="it-IT" sz="2000" b="1" dirty="0">
                <a:solidFill>
                  <a:srgbClr val="0070C0"/>
                </a:solidFill>
              </a:rPr>
              <a:t>L’E-Portfolio dello studente </a:t>
            </a:r>
            <a:r>
              <a:rPr lang="it-IT" sz="2000" dirty="0"/>
              <a:t>rappresenta un’innovazione tecnica e metodologica per rafforzare, in chiave orientativa, il “consiglio di orientamento”, per la scuola secondaria di primo grado, e il “curriculum dello studente”, per la scuola secondaria di secondo grado, ricomprendendoli altresì in </a:t>
            </a:r>
            <a:r>
              <a:rPr lang="it-IT" sz="2000" b="1" dirty="0">
                <a:solidFill>
                  <a:srgbClr val="0070C0"/>
                </a:solidFill>
              </a:rPr>
              <a:t>un’unica, evolutiva interfaccia digitale. </a:t>
            </a:r>
          </a:p>
        </p:txBody>
      </p:sp>
    </p:spTree>
    <p:extLst>
      <p:ext uri="{BB962C8B-B14F-4D97-AF65-F5344CB8AC3E}">
        <p14:creationId xmlns:p14="http://schemas.microsoft.com/office/powerpoint/2010/main" val="2038767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7">
            <a:extLst>
              <a:ext uri="{FF2B5EF4-FFF2-40B4-BE49-F238E27FC236}">
                <a16:creationId xmlns:a16="http://schemas.microsoft.com/office/drawing/2014/main" id="{800FE9E7-E14E-4FF7-978F-39B8DF27F530}"/>
              </a:ext>
            </a:extLst>
          </p:cNvPr>
          <p:cNvCxnSpPr/>
          <p:nvPr/>
        </p:nvCxnSpPr>
        <p:spPr>
          <a:xfrm flipV="1">
            <a:off x="587375" y="6024407"/>
            <a:ext cx="1101725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itle 3">
            <a:extLst>
              <a:ext uri="{FF2B5EF4-FFF2-40B4-BE49-F238E27FC236}">
                <a16:creationId xmlns:a16="http://schemas.microsoft.com/office/drawing/2014/main" id="{5ECEC434-E10F-4EAC-8F0D-7ADF693991D4}"/>
              </a:ext>
            </a:extLst>
          </p:cNvPr>
          <p:cNvSpPr txBox="1">
            <a:spLocks/>
          </p:cNvSpPr>
          <p:nvPr/>
        </p:nvSpPr>
        <p:spPr>
          <a:xfrm>
            <a:off x="587374" y="126720"/>
            <a:ext cx="11017249" cy="760885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algn="ctr"/>
            <a:r>
              <a:rPr lang="it-IT" sz="3200" dirty="0">
                <a:solidFill>
                  <a:srgbClr val="00863D"/>
                </a:solidFill>
                <a:sym typeface="Dosis Light"/>
              </a:rPr>
              <a:t>Linee guida orientamento </a:t>
            </a:r>
            <a:r>
              <a:rPr lang="it-IT" sz="3200" dirty="0">
                <a:solidFill>
                  <a:srgbClr val="C00000"/>
                </a:solidFill>
                <a:sym typeface="Dosis Light"/>
              </a:rPr>
              <a:t>- </a:t>
            </a:r>
            <a:r>
              <a:rPr lang="it-IT" sz="3200" i="1" dirty="0">
                <a:solidFill>
                  <a:srgbClr val="C00000"/>
                </a:solidFill>
                <a:sym typeface="Dosis Light"/>
              </a:rPr>
              <a:t>E-Portfolio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E4C6765-D450-36AB-2EF6-50E6EB03BD9B}"/>
              </a:ext>
            </a:extLst>
          </p:cNvPr>
          <p:cNvSpPr txBox="1"/>
          <p:nvPr/>
        </p:nvSpPr>
        <p:spPr>
          <a:xfrm>
            <a:off x="675576" y="1178459"/>
            <a:ext cx="10909223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20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ee Guida. Punto 8.3</a:t>
            </a:r>
          </a:p>
          <a:p>
            <a:pPr algn="just"/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Le parti fondamentali che </a:t>
            </a:r>
            <a:r>
              <a:rPr lang="it-IT" b="1" u="sng" dirty="0">
                <a:latin typeface="Arial" panose="020B0604020202020204" pitchFamily="34" charset="0"/>
                <a:cs typeface="Arial" panose="020B0604020202020204" pitchFamily="34" charset="0"/>
              </a:rPr>
              <a:t>contraddistinguono ogni E-Portfolio 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personale:</a:t>
            </a:r>
          </a:p>
          <a:p>
            <a:pPr algn="just"/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179705" lvl="0" indent="-342900" algn="just">
              <a:buFont typeface="+mj-lt"/>
              <a:buAutoNum type="alphaLcParenR"/>
            </a:pPr>
            <a:r>
              <a:rPr lang="it-IT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percorso di studi compiuti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, anche attraverso attività che ne documentino la personalizzazione </a:t>
            </a:r>
            <a:r>
              <a:rPr lang="it-IT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RIMA PARTE del Curriculum dello studente)</a:t>
            </a:r>
          </a:p>
          <a:p>
            <a:pPr marL="342900" marR="179705" lvl="0" indent="-342900" algn="just">
              <a:buFont typeface="+mj-lt"/>
              <a:buAutoNum type="alphaLcParenR"/>
            </a:pP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179705" indent="-342900" algn="just">
              <a:buFont typeface="+mj-lt"/>
              <a:buAutoNum type="alphaLcParenR"/>
            </a:pPr>
            <a:r>
              <a:rPr lang="it-IT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 sviluppo documentato delle competenze 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in prospettiva del proprio personale progetto di vita culturale e professionale. Trovano in questo spazio collocazione, ad esempio, anche le competenze sviluppate a seguito di attività svolte nell’ambito dei progetti finanziati con fondi europei o, per gli studenti della scuola secondaria di secondo grado, dei </a:t>
            </a: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Percorsi per le competenze trasversali e per l’orientamento </a:t>
            </a:r>
            <a:r>
              <a:rPr lang="it-IT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ECONDA PARTE e TERZA PARTE del Curriculum dello studente)</a:t>
            </a:r>
          </a:p>
          <a:p>
            <a:pPr marL="342900" marR="179705" lvl="0" indent="-342900" algn="just">
              <a:buFont typeface="+mj-lt"/>
              <a:buAutoNum type="alphaLcParenR"/>
            </a:pPr>
            <a:endParaRPr lang="it-IT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179705" lvl="0" indent="-342900" algn="just">
              <a:buFont typeface="+mj-lt"/>
              <a:buAutoNum type="alphaLcParenR"/>
            </a:pPr>
            <a:r>
              <a:rPr lang="it-IT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riflessioni in chiave valutativa, auto-valutativa e orientativa</a:t>
            </a: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 sul percorso svolto e, soprattutto, sulle sue prospettive;</a:t>
            </a:r>
          </a:p>
          <a:p>
            <a:pPr marL="342900" marR="179705" lvl="0" indent="-342900" algn="just">
              <a:buFont typeface="+mj-lt"/>
              <a:buAutoNum type="alphaLcParenR"/>
            </a:pPr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marR="179705" lvl="0" indent="-342900" algn="just">
              <a:buFont typeface="+mj-lt"/>
              <a:buAutoNum type="alphaLcParenR"/>
            </a:pPr>
            <a:r>
              <a:rPr lang="it-IT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scelta di almeno un prodotto 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riconosciuto criticamente dallo studente in ciascun anno scolastico e formativo come il proprio </a:t>
            </a:r>
            <a:r>
              <a:rPr lang="it-IT" b="1" dirty="0">
                <a:latin typeface="Arial" panose="020B0604020202020204" pitchFamily="34" charset="0"/>
                <a:cs typeface="Arial" panose="020B0604020202020204" pitchFamily="34" charset="0"/>
              </a:rPr>
              <a:t>“capolavoro”</a:t>
            </a:r>
            <a:r>
              <a:rPr lang="it-IT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61A53079-EC9D-4C7C-A349-EEF2FB5C8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676" y="6175275"/>
            <a:ext cx="2791433" cy="51893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icture 34" descr="Sistema Nazionale di Valutazione (SNV) – indicazioni operative in merito ai  documenti strategici delle istituzioni scolastiche (Rapporto di  autovalutazione, Piano di miglioramento, Piano triennale dell&amp;#39;offerta  formativa) – Ufficio Scolastico Regionale ...">
            <a:extLst>
              <a:ext uri="{FF2B5EF4-FFF2-40B4-BE49-F238E27FC236}">
                <a16:creationId xmlns:a16="http://schemas.microsoft.com/office/drawing/2014/main" id="{C2464415-C242-0534-E197-0FEB4C37A2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461" b="19673"/>
          <a:stretch/>
        </p:blipFill>
        <p:spPr bwMode="auto">
          <a:xfrm>
            <a:off x="9773606" y="6219618"/>
            <a:ext cx="1816732" cy="449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82648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4AF1D3D1-7594-0FE7-9716-2835ADD9D3B4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5720" y="1412776"/>
            <a:ext cx="4608512" cy="4393848"/>
          </a:xfrm>
          <a:prstGeom prst="rect">
            <a:avLst/>
          </a:prstGeom>
        </p:spPr>
      </p:pic>
      <p:sp>
        <p:nvSpPr>
          <p:cNvPr id="3" name="CasellaDiTesto 2">
            <a:extLst>
              <a:ext uri="{FF2B5EF4-FFF2-40B4-BE49-F238E27FC236}">
                <a16:creationId xmlns:a16="http://schemas.microsoft.com/office/drawing/2014/main" id="{41F3345D-9FB3-4F2F-9D36-C8C700F1F385}"/>
              </a:ext>
            </a:extLst>
          </p:cNvPr>
          <p:cNvSpPr txBox="1"/>
          <p:nvPr/>
        </p:nvSpPr>
        <p:spPr>
          <a:xfrm>
            <a:off x="695400" y="1196752"/>
            <a:ext cx="10801200" cy="4693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l Curriculum </a:t>
            </a:r>
            <a:r>
              <a:rPr kumimoji="0" lang="it-IT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raccoglie</a:t>
            </a:r>
            <a:r>
              <a:rPr kumimoji="0" lang="it-IT" sz="2200" i="0" u="none" strike="noStrike" kern="1200" cap="none" spc="0" normalizeH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il percorso scolastico e le attività in ambito extrascolastico (difficoltà di scuole e studenti di documentare le competenze – vedi PCTO) </a:t>
            </a:r>
            <a:endParaRPr kumimoji="0" lang="it-IT" sz="2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endParaRPr lang="it-IT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Ogni</a:t>
            </a:r>
            <a:r>
              <a:rPr kumimoji="0" lang="it-IT" sz="2200" b="1" i="0" u="none" strike="noStrike" kern="120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commissione </a:t>
            </a:r>
            <a:r>
              <a:rPr kumimoji="0" lang="it-IT" sz="22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 sede di riunione preliminare esamina «</a:t>
            </a:r>
            <a:r>
              <a:rPr kumimoji="0" lang="it-IT" sz="22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 documentazione relativa al percorso scolastico al fine dello svolgimento del colloquio»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it-IT" sz="22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2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el colloquio </a:t>
            </a:r>
            <a:r>
              <a:rPr kumimoji="0" lang="it-IT" sz="2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a commissione «</a:t>
            </a:r>
            <a:r>
              <a:rPr kumimoji="0" lang="it-IT" sz="220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tiene conto delle informazioni contenute nel Curriculum dello studente»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it-IT" sz="220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defTabSz="9144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sz="2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</a:t>
            </a:r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riporta la valutazione finale dell’esame, </a:t>
            </a:r>
            <a:r>
              <a:rPr lang="it-IT" sz="2200" b="1" dirty="0">
                <a:latin typeface="Arial" panose="020B0604020202020204" pitchFamily="34" charset="0"/>
                <a:cs typeface="Arial" panose="020B0604020202020204" pitchFamily="34" charset="0"/>
              </a:rPr>
              <a:t>è allegato al diploma </a:t>
            </a:r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e ogni studente può acquisirlo autonomamente assieme al </a:t>
            </a:r>
            <a:r>
              <a:rPr lang="it-IT" sz="2200" b="1" dirty="0">
                <a:latin typeface="Arial" panose="020B0604020202020204" pitchFamily="34" charset="0"/>
                <a:cs typeface="Arial" panose="020B0604020202020204" pitchFamily="34" charset="0"/>
              </a:rPr>
              <a:t>Supplemento Europass</a:t>
            </a:r>
            <a:r>
              <a:rPr lang="it-IT" sz="2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endParaRPr kumimoji="0" lang="it-IT" sz="2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olo 4">
            <a:extLst>
              <a:ext uri="{FF2B5EF4-FFF2-40B4-BE49-F238E27FC236}">
                <a16:creationId xmlns:a16="http://schemas.microsoft.com/office/drawing/2014/main" id="{E863B53D-BF8C-D87F-0737-28DB451F1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421" y="174000"/>
            <a:ext cx="10985179" cy="720080"/>
          </a:xfrm>
        </p:spPr>
        <p:txBody>
          <a:bodyPr>
            <a:normAutofit/>
          </a:bodyPr>
          <a:lstStyle/>
          <a:p>
            <a:r>
              <a:rPr lang="it-IT" sz="3200" dirty="0"/>
              <a:t>La situazione attuale</a:t>
            </a:r>
          </a:p>
        </p:txBody>
      </p:sp>
    </p:spTree>
    <p:extLst>
      <p:ext uri="{BB962C8B-B14F-4D97-AF65-F5344CB8AC3E}">
        <p14:creationId xmlns:p14="http://schemas.microsoft.com/office/powerpoint/2010/main" val="4253399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D70C564A-0578-DA1E-A874-BE3F341333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1384" y="174000"/>
            <a:ext cx="11017224" cy="720080"/>
          </a:xfrm>
        </p:spPr>
        <p:txBody>
          <a:bodyPr>
            <a:normAutofit/>
          </a:bodyPr>
          <a:lstStyle/>
          <a:p>
            <a:r>
              <a:rPr lang="it-IT" sz="3200" dirty="0"/>
              <a:t>Attività previste per la definizione del Curriculum</a:t>
            </a:r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6CCECBC2-27E3-C2FA-29C9-232F682600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268760"/>
            <a:ext cx="11161240" cy="4754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4941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E5B3CCF-0DFB-4315-88C5-B70013E7BDD5}"/>
              </a:ext>
            </a:extLst>
          </p:cNvPr>
          <p:cNvSpPr/>
          <p:nvPr/>
        </p:nvSpPr>
        <p:spPr>
          <a:xfrm>
            <a:off x="6605659" y="2259313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4FF8014-08FD-4222-AD45-FD89CBF0472A}"/>
              </a:ext>
            </a:extLst>
          </p:cNvPr>
          <p:cNvSpPr/>
          <p:nvPr/>
        </p:nvSpPr>
        <p:spPr>
          <a:xfrm>
            <a:off x="9006711" y="2259312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F52997-1638-4176-B6EF-72CD3A5C604A}"/>
              </a:ext>
            </a:extLst>
          </p:cNvPr>
          <p:cNvSpPr/>
          <p:nvPr/>
        </p:nvSpPr>
        <p:spPr>
          <a:xfrm>
            <a:off x="4204607" y="2259314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5EDDA2-A593-4722-B5FA-C71B8C06C838}"/>
              </a:ext>
            </a:extLst>
          </p:cNvPr>
          <p:cNvSpPr/>
          <p:nvPr/>
        </p:nvSpPr>
        <p:spPr>
          <a:xfrm>
            <a:off x="0" y="-53326"/>
            <a:ext cx="1804737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AFE996-E0E4-4C2A-B421-8180F378C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3200" dirty="0"/>
              <a:t>Il documento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B890BD6-76FD-489E-9085-FF0895F0F938}"/>
              </a:ext>
            </a:extLst>
          </p:cNvPr>
          <p:cNvSpPr txBox="1">
            <a:spLocks/>
          </p:cNvSpPr>
          <p:nvPr/>
        </p:nvSpPr>
        <p:spPr>
          <a:xfrm>
            <a:off x="680222" y="1037616"/>
            <a:ext cx="10988675" cy="8006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srgbClr val="FFA401"/>
              </a:buClr>
            </a:pPr>
            <a:r>
              <a:rPr lang="it-IT" sz="2000" b="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 scuola e lo studente hanno la possibilità di generare un </a:t>
            </a:r>
            <a:r>
              <a:rPr lang="it-IT" sz="20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ocumento in formato PDF </a:t>
            </a:r>
            <a:r>
              <a:rPr lang="it-IT" sz="2000" b="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tenente </a:t>
            </a:r>
            <a:r>
              <a:rPr lang="it-IT" sz="2000" dirty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utte le informazioni del Curriculu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9493E8-E3BA-42A2-AA6C-8FCDF508C99D}"/>
              </a:ext>
            </a:extLst>
          </p:cNvPr>
          <p:cNvGrpSpPr/>
          <p:nvPr/>
        </p:nvGrpSpPr>
        <p:grpSpPr>
          <a:xfrm>
            <a:off x="631775" y="2259312"/>
            <a:ext cx="2625666" cy="3477614"/>
            <a:chOff x="601663" y="2184277"/>
            <a:chExt cx="2340171" cy="32732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D5B4DB-5552-47F3-9B60-55500B477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6404" y="2339677"/>
              <a:ext cx="2215430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A1567A3-21C9-4A1C-972C-FDF808D3A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791" y="2261977"/>
              <a:ext cx="2210656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B294E3-5316-4D0C-9E0F-9A1EEEFC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1663" y="2184277"/>
              <a:ext cx="2208033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" name="Right Brace 1">
            <a:extLst>
              <a:ext uri="{FF2B5EF4-FFF2-40B4-BE49-F238E27FC236}">
                <a16:creationId xmlns:a16="http://schemas.microsoft.com/office/drawing/2014/main" id="{EA73F41A-B03E-4F48-BAF4-1B3FFA0426CD}"/>
              </a:ext>
            </a:extLst>
          </p:cNvPr>
          <p:cNvSpPr/>
          <p:nvPr/>
        </p:nvSpPr>
        <p:spPr>
          <a:xfrm>
            <a:off x="3347357" y="2098221"/>
            <a:ext cx="506185" cy="3878036"/>
          </a:xfrm>
          <a:prstGeom prst="rightBrac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27C584-A181-417F-8ACE-1F353AE3E40F}"/>
              </a:ext>
            </a:extLst>
          </p:cNvPr>
          <p:cNvGrpSpPr/>
          <p:nvPr/>
        </p:nvGrpSpPr>
        <p:grpSpPr>
          <a:xfrm>
            <a:off x="4425119" y="2696022"/>
            <a:ext cx="1869469" cy="2545941"/>
            <a:chOff x="4423598" y="2566940"/>
            <a:chExt cx="1869469" cy="254594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F2409FD-682A-43AC-A4E9-81ECFB8F7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5528" y="2946086"/>
              <a:ext cx="1527539" cy="2166795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258056A-BF45-4827-A78A-1D702BEC4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2461" y="2828700"/>
              <a:ext cx="1520578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6D899A7-3FFD-4322-A926-1BE43C26B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2433" y="2697820"/>
              <a:ext cx="1530044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BAC1DB6-4036-494C-8118-FA3774788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598" y="2566940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A447A35-590C-4892-A4E8-FC987F121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7532" y="2696021"/>
            <a:ext cx="1526747" cy="21533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3DCDAA6-81FA-430B-B3C4-4F8542774321}"/>
              </a:ext>
            </a:extLst>
          </p:cNvPr>
          <p:cNvGrpSpPr/>
          <p:nvPr/>
        </p:nvGrpSpPr>
        <p:grpSpPr>
          <a:xfrm>
            <a:off x="9284084" y="2696021"/>
            <a:ext cx="1755746" cy="2415061"/>
            <a:chOff x="9245948" y="2547944"/>
            <a:chExt cx="1755746" cy="241506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4409CB5-C419-4DF4-934E-E7748F83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74947" y="2809704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2F0E8E8-6CCD-4D1E-89DD-0B6595A98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60981" y="2678823"/>
              <a:ext cx="1525680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45339E9-0E39-49C7-A739-105DA34BB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45948" y="2547944"/>
              <a:ext cx="1523129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AA1A68E-587E-4016-BF2F-57C83ACCAB3D}"/>
              </a:ext>
            </a:extLst>
          </p:cNvPr>
          <p:cNvSpPr txBox="1"/>
          <p:nvPr/>
        </p:nvSpPr>
        <p:spPr>
          <a:xfrm>
            <a:off x="4807956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89C420-9003-469C-99FD-3BA88204DA06}"/>
              </a:ext>
            </a:extLst>
          </p:cNvPr>
          <p:cNvSpPr txBox="1"/>
          <p:nvPr/>
        </p:nvSpPr>
        <p:spPr>
          <a:xfrm>
            <a:off x="7209008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67258C-B341-4B79-8166-E3E26D5EAC15}"/>
              </a:ext>
            </a:extLst>
          </p:cNvPr>
          <p:cNvSpPr txBox="1"/>
          <p:nvPr/>
        </p:nvSpPr>
        <p:spPr>
          <a:xfrm>
            <a:off x="9610060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I</a:t>
            </a:r>
          </a:p>
        </p:txBody>
      </p:sp>
    </p:spTree>
    <p:extLst>
      <p:ext uri="{BB962C8B-B14F-4D97-AF65-F5344CB8AC3E}">
        <p14:creationId xmlns:p14="http://schemas.microsoft.com/office/powerpoint/2010/main" val="21249082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87F28BD4-2767-474A-9CD0-68F33C2E48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97108" y="1087440"/>
            <a:ext cx="9725506" cy="4854989"/>
          </a:xfrm>
          <a:prstGeom prst="rect">
            <a:avLst/>
          </a:prstGeom>
        </p:spPr>
      </p:pic>
      <p:sp>
        <p:nvSpPr>
          <p:cNvPr id="15" name="Title 8">
            <a:extLst>
              <a:ext uri="{FF2B5EF4-FFF2-40B4-BE49-F238E27FC236}">
                <a16:creationId xmlns:a16="http://schemas.microsoft.com/office/drawing/2014/main" id="{7CB4F456-E7A3-4999-BF60-747813FC0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37" y="71606"/>
            <a:ext cx="11295542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sz="3200" dirty="0">
                <a:sym typeface="Dosis Light"/>
              </a:rPr>
              <a:t>Sito web </a:t>
            </a:r>
            <a:r>
              <a:rPr lang="it-IT" sz="3200" i="1" dirty="0">
                <a:sym typeface="Dosis Light"/>
              </a:rPr>
              <a:t>Curriculum dello studente</a:t>
            </a:r>
            <a:br>
              <a:rPr lang="it-IT" i="1" dirty="0">
                <a:sym typeface="Dosis Light"/>
              </a:rPr>
            </a:br>
            <a:endParaRPr lang="it-IT" i="1" dirty="0">
              <a:sym typeface="Dosis Light"/>
            </a:endParaRPr>
          </a:p>
        </p:txBody>
      </p:sp>
      <p:pic>
        <p:nvPicPr>
          <p:cNvPr id="19" name="Picture 9">
            <a:extLst>
              <a:ext uri="{FF2B5EF4-FFF2-40B4-BE49-F238E27FC236}">
                <a16:creationId xmlns:a16="http://schemas.microsoft.com/office/drawing/2014/main" id="{445311D1-EFE1-4932-A84F-524BA31AE7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2709" y="1861962"/>
            <a:ext cx="560659" cy="560659"/>
          </a:xfrm>
          <a:prstGeom prst="rect">
            <a:avLst/>
          </a:prstGeom>
        </p:spPr>
      </p:pic>
      <p:grpSp>
        <p:nvGrpSpPr>
          <p:cNvPr id="20" name="Group 2">
            <a:extLst>
              <a:ext uri="{FF2B5EF4-FFF2-40B4-BE49-F238E27FC236}">
                <a16:creationId xmlns:a16="http://schemas.microsoft.com/office/drawing/2014/main" id="{63AA6F81-4BCB-4014-B461-FA67B07AD057}"/>
              </a:ext>
            </a:extLst>
          </p:cNvPr>
          <p:cNvGrpSpPr/>
          <p:nvPr/>
        </p:nvGrpSpPr>
        <p:grpSpPr>
          <a:xfrm>
            <a:off x="8730273" y="3304331"/>
            <a:ext cx="3220027" cy="1848202"/>
            <a:chOff x="6467881" y="4281875"/>
            <a:chExt cx="3220027" cy="1848202"/>
          </a:xfrm>
        </p:grpSpPr>
        <p:sp>
          <p:nvSpPr>
            <p:cNvPr id="21" name="Rectangle 15">
              <a:extLst>
                <a:ext uri="{FF2B5EF4-FFF2-40B4-BE49-F238E27FC236}">
                  <a16:creationId xmlns:a16="http://schemas.microsoft.com/office/drawing/2014/main" id="{E4CE85FA-08E4-447C-89E3-E389AA928DDB}"/>
                </a:ext>
              </a:extLst>
            </p:cNvPr>
            <p:cNvSpPr/>
            <p:nvPr/>
          </p:nvSpPr>
          <p:spPr>
            <a:xfrm>
              <a:off x="6467881" y="4281875"/>
              <a:ext cx="3220027" cy="18482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22" name="Picture 16">
              <a:extLst>
                <a:ext uri="{FF2B5EF4-FFF2-40B4-BE49-F238E27FC236}">
                  <a16:creationId xmlns:a16="http://schemas.microsoft.com/office/drawing/2014/main" id="{5F96BE53-AE3C-4FE1-A023-B2F1922AEED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5911" y="4492479"/>
              <a:ext cx="3079727" cy="136263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3" name="Rectangle 17">
            <a:extLst>
              <a:ext uri="{FF2B5EF4-FFF2-40B4-BE49-F238E27FC236}">
                <a16:creationId xmlns:a16="http://schemas.microsoft.com/office/drawing/2014/main" id="{7ECCD14F-07D4-44E5-A283-83DEABDBEA4E}"/>
              </a:ext>
            </a:extLst>
          </p:cNvPr>
          <p:cNvSpPr/>
          <p:nvPr/>
        </p:nvSpPr>
        <p:spPr>
          <a:xfrm>
            <a:off x="10331027" y="2481828"/>
            <a:ext cx="1827361" cy="4338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Selezione del profilo</a:t>
            </a:r>
          </a:p>
        </p:txBody>
      </p:sp>
      <p:sp>
        <p:nvSpPr>
          <p:cNvPr id="24" name="Rectangle: Rounded Corners 19">
            <a:extLst>
              <a:ext uri="{FF2B5EF4-FFF2-40B4-BE49-F238E27FC236}">
                <a16:creationId xmlns:a16="http://schemas.microsoft.com/office/drawing/2014/main" id="{0C15E38F-BAD2-4880-B128-27CF84EAA9AF}"/>
              </a:ext>
            </a:extLst>
          </p:cNvPr>
          <p:cNvSpPr/>
          <p:nvPr/>
        </p:nvSpPr>
        <p:spPr>
          <a:xfrm>
            <a:off x="10972586" y="3990056"/>
            <a:ext cx="784899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5" name="Rectangle: Rounded Corners 19">
            <a:extLst>
              <a:ext uri="{FF2B5EF4-FFF2-40B4-BE49-F238E27FC236}">
                <a16:creationId xmlns:a16="http://schemas.microsoft.com/office/drawing/2014/main" id="{334A9F69-1C0E-4BC2-9663-2AE80D22FB2F}"/>
              </a:ext>
            </a:extLst>
          </p:cNvPr>
          <p:cNvSpPr/>
          <p:nvPr/>
        </p:nvSpPr>
        <p:spPr>
          <a:xfrm>
            <a:off x="9877672" y="3991591"/>
            <a:ext cx="811756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6" name="Rectangle: Rounded Corners 19">
            <a:extLst>
              <a:ext uri="{FF2B5EF4-FFF2-40B4-BE49-F238E27FC236}">
                <a16:creationId xmlns:a16="http://schemas.microsoft.com/office/drawing/2014/main" id="{2FDFD40B-E1E7-4791-90FA-8DF505AB88CF}"/>
              </a:ext>
            </a:extLst>
          </p:cNvPr>
          <p:cNvSpPr/>
          <p:nvPr/>
        </p:nvSpPr>
        <p:spPr>
          <a:xfrm>
            <a:off x="8913750" y="4010466"/>
            <a:ext cx="811756" cy="75764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7" name="Oval 10">
            <a:extLst>
              <a:ext uri="{FF2B5EF4-FFF2-40B4-BE49-F238E27FC236}">
                <a16:creationId xmlns:a16="http://schemas.microsoft.com/office/drawing/2014/main" id="{0849D986-8769-4456-8162-8481D15D4C3D}"/>
              </a:ext>
            </a:extLst>
          </p:cNvPr>
          <p:cNvSpPr/>
          <p:nvPr/>
        </p:nvSpPr>
        <p:spPr>
          <a:xfrm>
            <a:off x="10681273" y="1072066"/>
            <a:ext cx="1076212" cy="819277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Freeform 19">
            <a:extLst>
              <a:ext uri="{FF2B5EF4-FFF2-40B4-BE49-F238E27FC236}">
                <a16:creationId xmlns:a16="http://schemas.microsoft.com/office/drawing/2014/main" id="{1D53A89C-64BD-4AE4-ACFD-89EDE6316612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11104954" y="1938598"/>
            <a:ext cx="755453" cy="326698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BC3D1F3-8052-4834-AF80-66A54D0B1A62}"/>
              </a:ext>
            </a:extLst>
          </p:cNvPr>
          <p:cNvSpPr/>
          <p:nvPr/>
        </p:nvSpPr>
        <p:spPr>
          <a:xfrm>
            <a:off x="299773" y="2481828"/>
            <a:ext cx="2780388" cy="21950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appresenta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 di accesso alle informazioni, ai materiali utili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funzioni 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a predisposizione e la consultazione de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 Curriculum per le scuole e gli studenti.</a:t>
            </a:r>
          </a:p>
        </p:txBody>
      </p:sp>
    </p:spTree>
    <p:extLst>
      <p:ext uri="{BB962C8B-B14F-4D97-AF65-F5344CB8AC3E}">
        <p14:creationId xmlns:p14="http://schemas.microsoft.com/office/powerpoint/2010/main" val="33043897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62168"/>
            <a:ext cx="10988674" cy="821727"/>
          </a:xfrm>
        </p:spPr>
        <p:txBody>
          <a:bodyPr>
            <a:normAutofit/>
          </a:bodyPr>
          <a:lstStyle/>
          <a:p>
            <a:r>
              <a:rPr lang="it-IT" sz="3200" dirty="0"/>
              <a:t>Materiale di accompagnamento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52B98DE7-E852-4991-871B-21CF43B46840}"/>
              </a:ext>
            </a:extLst>
          </p:cNvPr>
          <p:cNvSpPr txBox="1">
            <a:spLocks/>
          </p:cNvSpPr>
          <p:nvPr/>
        </p:nvSpPr>
        <p:spPr>
          <a:xfrm>
            <a:off x="405720" y="1085170"/>
            <a:ext cx="10988675" cy="95967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ogni passaggio operativo relativo al Curriculum dello studente è stato realizzato del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eriale di informazione e supporto personalizzato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 l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ività di competenza delle scuole e degli studenti.</a:t>
            </a:r>
          </a:p>
          <a:p>
            <a:pPr algn="just"/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ateriale è rinvenibile sul sito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iculumstudente.istruzione.i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949999"/>
            <a:ext cx="2725395" cy="2612568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rapid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ello del Curriculum student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bilitare docenti e student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effettuare il consolidamento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istemi che alimentano il Curriculum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gestione dei candidati estern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zione del Curriculum da parte dei docenti</a:t>
            </a:r>
          </a:p>
        </p:txBody>
      </p:sp>
      <p:sp>
        <p:nvSpPr>
          <p:cNvPr id="86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4623205" y="2281081"/>
            <a:ext cx="3024000" cy="451811"/>
          </a:xfrm>
          <a:prstGeom prst="round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400" b="1" dirty="0">
                <a:solidFill>
                  <a:schemeClr val="tx1"/>
                </a:solidFill>
              </a:rPr>
              <a:t>SCUOLE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228545" y="2177468"/>
            <a:ext cx="707178" cy="659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2952109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operativi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425013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nde frequenti</a:t>
            </a:r>
          </a:p>
        </p:txBody>
      </p:sp>
      <p:pic>
        <p:nvPicPr>
          <p:cNvPr id="132" name="Graphic 49">
            <a:extLst>
              <a:ext uri="{FF2B5EF4-FFF2-40B4-BE49-F238E27FC236}">
                <a16:creationId xmlns:a16="http://schemas.microsoft.com/office/drawing/2014/main" id="{5E2FB052-D3D0-48B5-931D-0C25FFB90240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49095" y="3897917"/>
            <a:ext cx="432000" cy="432000"/>
          </a:xfrm>
          <a:prstGeom prst="rect">
            <a:avLst/>
          </a:prstGeom>
        </p:spPr>
      </p:pic>
      <p:pic>
        <p:nvPicPr>
          <p:cNvPr id="133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314458" y="3425013"/>
            <a:ext cx="432000" cy="432000"/>
          </a:xfrm>
          <a:prstGeom prst="rect">
            <a:avLst/>
          </a:prstGeom>
        </p:spPr>
      </p:pic>
      <p:pic>
        <p:nvPicPr>
          <p:cNvPr id="136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14458" y="2952109"/>
            <a:ext cx="432000" cy="432000"/>
          </a:xfrm>
          <a:prstGeom prst="rect">
            <a:avLst/>
          </a:prstGeom>
        </p:spPr>
      </p:pic>
      <p:pic>
        <p:nvPicPr>
          <p:cNvPr id="152" name="Picture 151" descr="A clock on a yellow building&#10;&#10;Description automatically generated">
            <a:extLst>
              <a:ext uri="{FF2B5EF4-FFF2-40B4-BE49-F238E27FC236}">
                <a16:creationId xmlns:a16="http://schemas.microsoft.com/office/drawing/2014/main" id="{F396E207-65D4-488F-AAB6-6FF2148FCB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34" y="2242812"/>
            <a:ext cx="540000" cy="528348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8046774" y="1579426"/>
            <a:ext cx="3418660" cy="4385098"/>
            <a:chOff x="7439856" y="1986064"/>
            <a:chExt cx="3418660" cy="438509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758595"/>
              <a:ext cx="2725395" cy="2612567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 rapid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modello del Curriculum student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e registrarsi e accedere alla piattaforma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 – candidati esterni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19">
              <a:extLst>
                <a:ext uri="{FF2B5EF4-FFF2-40B4-BE49-F238E27FC236}">
                  <a16:creationId xmlns:a16="http://schemas.microsoft.com/office/drawing/2014/main" id="{D5703467-199F-4B16-A4FE-009320B26D5F}"/>
                </a:ext>
              </a:extLst>
            </p:cNvPr>
            <p:cNvSpPr/>
            <p:nvPr/>
          </p:nvSpPr>
          <p:spPr>
            <a:xfrm>
              <a:off x="7834516" y="2089677"/>
              <a:ext cx="3024000" cy="451811"/>
            </a:xfrm>
            <a:prstGeom prst="round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lvl="0" algn="ctr">
                <a:defRPr/>
              </a:pPr>
              <a:r>
                <a:rPr lang="it-IT" sz="1400" b="1" dirty="0">
                  <a:solidFill>
                    <a:schemeClr val="tx1"/>
                  </a:solidFill>
                </a:rPr>
                <a:t>STUDENTI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938F024-9485-4037-8281-4A372E2E1C06}"/>
                </a:ext>
              </a:extLst>
            </p:cNvPr>
            <p:cNvSpPr/>
            <p:nvPr/>
          </p:nvSpPr>
          <p:spPr>
            <a:xfrm>
              <a:off x="7439856" y="1986064"/>
              <a:ext cx="707178" cy="65903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2760705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 Tutorial operativi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233609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nde frequenti</a:t>
              </a: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7642972" y="2094113"/>
              <a:ext cx="300947" cy="442939"/>
              <a:chOff x="4148419" y="1868128"/>
              <a:chExt cx="358806" cy="539744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  <p:pic>
          <p:nvPicPr>
            <p:cNvPr id="165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511804" y="3797779"/>
              <a:ext cx="432000" cy="432000"/>
            </a:xfrm>
            <a:prstGeom prst="rect">
              <a:avLst/>
            </a:prstGeom>
          </p:spPr>
        </p:pic>
        <p:pic>
          <p:nvPicPr>
            <p:cNvPr id="166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2840" y="3233609"/>
              <a:ext cx="432000" cy="432000"/>
            </a:xfrm>
            <a:prstGeom prst="rect">
              <a:avLst/>
            </a:prstGeom>
          </p:spPr>
        </p:pic>
        <p:pic>
          <p:nvPicPr>
            <p:cNvPr id="167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512840" y="2760705"/>
              <a:ext cx="432000" cy="432000"/>
            </a:xfrm>
            <a:prstGeom prst="rect">
              <a:avLst/>
            </a:prstGeom>
          </p:spPr>
        </p:pic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2867071"/>
            <a:ext cx="2725395" cy="43200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Curriculum dello studente</a:t>
            </a:r>
          </a:p>
        </p:txBody>
      </p:sp>
      <p:pic>
        <p:nvPicPr>
          <p:cNvPr id="138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36943" y="2885071"/>
            <a:ext cx="432000" cy="432000"/>
          </a:xfrm>
          <a:prstGeom prst="rect">
            <a:avLst/>
          </a:prstGeom>
        </p:spPr>
      </p:pic>
      <p:sp>
        <p:nvSpPr>
          <p:cNvPr id="108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876014" y="2281081"/>
            <a:ext cx="3024000" cy="451811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UTTI</a:t>
            </a: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GL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UTENTI INTERESSATI</a:t>
            </a:r>
            <a:endParaRPr kumimoji="0" lang="it-IT" sz="1400" b="1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81354" y="2177468"/>
            <a:ext cx="707178" cy="659036"/>
          </a:xfrm>
          <a:prstGeom prst="ellipse">
            <a:avLst/>
          </a:prstGeom>
          <a:solidFill>
            <a:srgbClr val="FCD6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3339974"/>
            <a:ext cx="2725395" cy="603533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1968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generale sul modello del Curriculum dello studente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36943" y="3339975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4943" y="2239096"/>
            <a:ext cx="540000" cy="53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51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3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5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6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7_Title with content">
  <a:themeElements>
    <a:clrScheme name="Custom 214">
      <a:dk1>
        <a:sysClr val="windowText" lastClr="000000"/>
      </a:dk1>
      <a:lt1>
        <a:sysClr val="window" lastClr="FFFFFF"/>
      </a:lt1>
      <a:dk2>
        <a:srgbClr val="0096D6"/>
      </a:dk2>
      <a:lt2>
        <a:srgbClr val="E5E8E8"/>
      </a:lt2>
      <a:accent1>
        <a:srgbClr val="0096D6"/>
      </a:accent1>
      <a:accent2>
        <a:srgbClr val="F05332"/>
      </a:accent2>
      <a:accent3>
        <a:srgbClr val="822980"/>
      </a:accent3>
      <a:accent4>
        <a:srgbClr val="87898B"/>
      </a:accent4>
      <a:accent5>
        <a:srgbClr val="B9B8BB"/>
      </a:accent5>
      <a:accent6>
        <a:srgbClr val="008B2B"/>
      </a:accent6>
      <a:hlink>
        <a:srgbClr val="0096D6"/>
      </a:hlink>
      <a:folHlink>
        <a:srgbClr val="0096D6"/>
      </a:folHlink>
    </a:clrScheme>
    <a:fontScheme name="HP Simplified">
      <a:majorFont>
        <a:latin typeface="HP Simplified"/>
        <a:ea typeface=""/>
        <a:cs typeface=""/>
      </a:majorFont>
      <a:minorFont>
        <a:latin typeface="HP Simplifi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defTabSz="430213">
          <a:spcAft>
            <a:spcPts val="400"/>
          </a:spcAft>
          <a:buSzPct val="100000"/>
          <a:defRPr sz="1600" dirty="0" smtClean="0">
            <a:solidFill>
              <a:srgbClr val="000000"/>
            </a:solidFill>
            <a:latin typeface="HP Simplified" pitchFamily="34" charset="0"/>
            <a:cs typeface="HP Simplified" pitchFamily="34" charset="0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2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3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4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5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ppt/theme/themeOverride6.xml><?xml version="1.0" encoding="utf-8"?>
<a:themeOverride xmlns:a="http://schemas.openxmlformats.org/drawingml/2006/main">
  <a:clrScheme name="Custom 214">
    <a:dk1>
      <a:sysClr val="windowText" lastClr="000000"/>
    </a:dk1>
    <a:lt1>
      <a:sysClr val="window" lastClr="FFFFFF"/>
    </a:lt1>
    <a:dk2>
      <a:srgbClr val="0096D6"/>
    </a:dk2>
    <a:lt2>
      <a:srgbClr val="E5E8E8"/>
    </a:lt2>
    <a:accent1>
      <a:srgbClr val="0096D6"/>
    </a:accent1>
    <a:accent2>
      <a:srgbClr val="F05332"/>
    </a:accent2>
    <a:accent3>
      <a:srgbClr val="822980"/>
    </a:accent3>
    <a:accent4>
      <a:srgbClr val="87898B"/>
    </a:accent4>
    <a:accent5>
      <a:srgbClr val="B9B8BB"/>
    </a:accent5>
    <a:accent6>
      <a:srgbClr val="008B2B"/>
    </a:accent6>
    <a:hlink>
      <a:srgbClr val="0096D6"/>
    </a:hlink>
    <a:folHlink>
      <a:srgbClr val="0096D6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02</TotalTime>
  <Words>1037</Words>
  <Application>Microsoft Office PowerPoint</Application>
  <PresentationFormat>Widescreen</PresentationFormat>
  <Paragraphs>93</Paragraphs>
  <Slides>16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6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9" baseType="lpstr">
      <vt:lpstr>Arial</vt:lpstr>
      <vt:lpstr>Calibri</vt:lpstr>
      <vt:lpstr>HP Simplified</vt:lpstr>
      <vt:lpstr>Lucida Grande</vt:lpstr>
      <vt:lpstr>Open Sans</vt:lpstr>
      <vt:lpstr>Wingdings</vt:lpstr>
      <vt:lpstr>Title with content</vt:lpstr>
      <vt:lpstr>3_Title with content</vt:lpstr>
      <vt:lpstr>2_Title with content</vt:lpstr>
      <vt:lpstr>5_Title with content</vt:lpstr>
      <vt:lpstr>6_Title with content</vt:lpstr>
      <vt:lpstr>7_Title with content</vt:lpstr>
      <vt:lpstr>Diapositiva think-cell</vt:lpstr>
      <vt:lpstr>Presentazione standard di PowerPoint</vt:lpstr>
      <vt:lpstr>I riferimenti normativi</vt:lpstr>
      <vt:lpstr>Decreto ministeriale 22 dicembre 2022, n. 328  Linee guida per l’orientamento</vt:lpstr>
      <vt:lpstr>Presentazione standard di PowerPoint</vt:lpstr>
      <vt:lpstr>La situazione attuale</vt:lpstr>
      <vt:lpstr>Attività previste per la definizione del Curriculum</vt:lpstr>
      <vt:lpstr>Il documento</vt:lpstr>
      <vt:lpstr>Sito web Curriculum dello studente </vt:lpstr>
      <vt:lpstr>Materiale di accompagnamento</vt:lpstr>
      <vt:lpstr>Curriculum dello studente e nuovi professionali</vt:lpstr>
      <vt:lpstr>Gestione dei codici nel SIDI</vt:lpstr>
      <vt:lpstr>Curriculum dello studente e nuovi professionali</vt:lpstr>
      <vt:lpstr>Curriculum dello studente e nuovi professionali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UR</dc:creator>
  <cp:lastModifiedBy>Previtali Damiano</cp:lastModifiedBy>
  <cp:revision>568</cp:revision>
  <cp:lastPrinted>2022-10-04T10:54:07Z</cp:lastPrinted>
  <dcterms:created xsi:type="dcterms:W3CDTF">2018-05-21T10:03:44Z</dcterms:created>
  <dcterms:modified xsi:type="dcterms:W3CDTF">2023-05-30T11:11:35Z</dcterms:modified>
</cp:coreProperties>
</file>